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4"/>
  </p:sldMasterIdLst>
  <p:notesMasterIdLst>
    <p:notesMasterId r:id="rId31"/>
  </p:notesMasterIdLst>
  <p:handoutMasterIdLst>
    <p:handoutMasterId r:id="rId32"/>
  </p:handoutMasterIdLst>
  <p:sldIdLst>
    <p:sldId id="259" r:id="rId5"/>
    <p:sldId id="263" r:id="rId6"/>
    <p:sldId id="384" r:id="rId7"/>
    <p:sldId id="335" r:id="rId8"/>
    <p:sldId id="367" r:id="rId9"/>
    <p:sldId id="368" r:id="rId10"/>
    <p:sldId id="369" r:id="rId11"/>
    <p:sldId id="370" r:id="rId12"/>
    <p:sldId id="371" r:id="rId13"/>
    <p:sldId id="372" r:id="rId14"/>
    <p:sldId id="373" r:id="rId15"/>
    <p:sldId id="374" r:id="rId16"/>
    <p:sldId id="375" r:id="rId17"/>
    <p:sldId id="376" r:id="rId18"/>
    <p:sldId id="377" r:id="rId19"/>
    <p:sldId id="378" r:id="rId20"/>
    <p:sldId id="383" r:id="rId21"/>
    <p:sldId id="379" r:id="rId22"/>
    <p:sldId id="385" r:id="rId23"/>
    <p:sldId id="380" r:id="rId24"/>
    <p:sldId id="381" r:id="rId25"/>
    <p:sldId id="382" r:id="rId26"/>
    <p:sldId id="363" r:id="rId27"/>
    <p:sldId id="353" r:id="rId28"/>
    <p:sldId id="355" r:id="rId29"/>
    <p:sldId id="281" r:id="rId30"/>
  </p:sldIdLst>
  <p:sldSz cx="10080625" cy="7561263"/>
  <p:notesSz cx="6858000" cy="9144000"/>
  <p:custDataLst>
    <p:tags r:id="rId33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/>
  </p:cmAuthor>
  <p:cmAuthor id="3" name="Tibor Varga" initials="VT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20074"/>
    <a:srgbClr val="4A6B1D"/>
    <a:srgbClr val="E20000"/>
    <a:srgbClr val="992C99"/>
    <a:srgbClr val="4B4B4B"/>
    <a:srgbClr val="C4C4C4"/>
    <a:srgbClr val="00FFFF"/>
    <a:srgbClr val="66FF66"/>
    <a:srgbClr val="E1E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294" autoAdjust="0"/>
    <p:restoredTop sz="74609" autoAdjust="0"/>
  </p:normalViewPr>
  <p:slideViewPr>
    <p:cSldViewPr snapToGrid="0" snapToObjects="1">
      <p:cViewPr>
        <p:scale>
          <a:sx n="75" d="100"/>
          <a:sy n="75" d="100"/>
        </p:scale>
        <p:origin x="-1291" y="442"/>
      </p:cViewPr>
      <p:guideLst>
        <p:guide orient="horz" pos="2382"/>
        <p:guide orient="horz" pos="226"/>
        <p:guide orient="horz" pos="1021"/>
        <p:guide orient="horz" pos="3844"/>
        <p:guide orient="horz" pos="749"/>
        <p:guide orient="horz" pos="4105"/>
        <p:guide orient="horz" pos="4365"/>
        <p:guide orient="horz" pos="4536"/>
        <p:guide pos="246"/>
        <p:guide pos="1724"/>
        <p:guide pos="1632"/>
        <p:guide pos="6123"/>
        <p:guide pos="4717"/>
        <p:guide pos="4627"/>
        <p:guide pos="3220"/>
        <p:guide pos="3130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2246"/>
    </p:cViewPr>
  </p:sorterViewPr>
  <p:notesViewPr>
    <p:cSldViewPr snapToGrid="0" snapToObjects="1" showGuides="1">
      <p:cViewPr>
        <p:scale>
          <a:sx n="75" d="100"/>
          <a:sy n="75" d="100"/>
        </p:scale>
        <p:origin x="-2942" y="926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commentAuthors" Target="commentAuthor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16025" y="371475"/>
            <a:ext cx="44259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6025" y="371475"/>
            <a:ext cx="44259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8855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66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u-HU" altLang="hu-HU" dirty="0" smtClean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62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u-HU" altLang="hu-HU" dirty="0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hu-HU" altLang="hu-HU" dirty="0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03974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506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14000">
              <a:defRPr/>
            </a:pPr>
            <a:endParaRPr lang="en-US" sz="1000" dirty="0">
              <a:latin typeface="Arial"/>
              <a:cs typeface="Arial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422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219200" y="685800"/>
            <a:ext cx="44227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tt.mm.jjjj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– Streng vertraulich, Vertraulich, Intern – Autor / Thema der Präsentation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132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456972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lnSpcReduction="10000"/>
          </a:bodyPr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5823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8331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658406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9718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en-US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sz="1000" dirty="0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sz="1000" dirty="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194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hu-HU" sz="1000" dirty="0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218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sz="1000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Notes Placeholder"/>
          <p:cNvSpPr>
            <a:spLocks noGrp="1"/>
          </p:cNvSpPr>
          <p:nvPr>
            <p:ph type="body" idx="1"/>
          </p:nvPr>
        </p:nvSpPr>
        <p:spPr bwMode="auto">
          <a:xfrm>
            <a:off x="-1610612736" y="-2147483648"/>
            <a:ext cx="0" cy="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sz="1000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image" Target="../media/image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98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360000" y="1512000"/>
            <a:ext cx="9366613" cy="255866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800" dirty="0" smtClean="0">
                <a:latin typeface="TeleGrotesk Headline" pitchFamily="2" charset="0"/>
              </a:rPr>
              <a:t>Maximum of 3 lines</a:t>
            </a:r>
            <a:br>
              <a:rPr lang="en-US" sz="4800" dirty="0" smtClean="0">
                <a:latin typeface="TeleGrotesk Headline" pitchFamily="2" charset="0"/>
              </a:rPr>
            </a:br>
            <a:r>
              <a:rPr lang="en-US" sz="48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361950" y="4505418"/>
            <a:ext cx="9364663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360000" y="6678000"/>
            <a:ext cx="1224495" cy="521999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7734009" y="6678000"/>
            <a:ext cx="1989432" cy="521999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13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178B3E6-3D26-49C4-A2DF-345C8D81B3BF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31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60000" y="1620000"/>
            <a:ext cx="9360000" cy="48960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752BE32-DB3E-44BF-A280-472D4B7E17ED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3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000" y="1620000"/>
            <a:ext cx="4608000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279ECC44-668E-4287-844C-511426578FC0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4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6713798" y="1620000"/>
            <a:ext cx="3008152" cy="48960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537874" y="1620000"/>
            <a:ext cx="3008152" cy="4896000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EA4DCDB9-E759-491B-9D2F-3DCA557301AE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6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4896000"/>
          </a:xfrm>
        </p:spPr>
        <p:txBody>
          <a:bodyPr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11280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2737378" y="1620000"/>
            <a:ext cx="2232000" cy="4896000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238" y="1620000"/>
            <a:ext cx="2232000" cy="4896000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F038CBBA-B24A-47B2-955F-49FB9AB6DFA1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51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4663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4608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3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3008021" cy="5306263"/>
          </a:xfrm>
        </p:spPr>
        <p:txBody>
          <a:bodyPr/>
          <a:lstStyle>
            <a:lvl1pPr>
              <a:defRPr sz="1400"/>
            </a:lvl1pPr>
            <a:lvl2pPr>
              <a:defRPr sz="1400" baseline="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53793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6713929" y="1620000"/>
            <a:ext cx="3008021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baseline="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56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6572116"/>
            <a:ext cx="9537566" cy="83911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94041"/>
            <a:ext cx="9360000" cy="588082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2232000" cy="5306263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2736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112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7488000" y="1620000"/>
            <a:ext cx="2232000" cy="530626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5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360000" y="3560510"/>
            <a:ext cx="9359901" cy="2595490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360000" y="2269846"/>
            <a:ext cx="9034573" cy="388615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390" y="1853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360000" y="2631232"/>
            <a:ext cx="8697256" cy="3524768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360000" y="5346000"/>
            <a:ext cx="842375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605"/>
          <a:stretch>
            <a:fillRect/>
          </a:stretch>
        </p:blipFill>
        <p:spPr>
          <a:xfrm>
            <a:off x="360000" y="6678000"/>
            <a:ext cx="1237572" cy="522000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246"/>
          <a:stretch>
            <a:fillRect/>
          </a:stretch>
        </p:blipFill>
        <p:spPr>
          <a:xfrm>
            <a:off x="7704083" y="6678000"/>
            <a:ext cx="2019358" cy="52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68" y="0"/>
            <a:ext cx="10080476" cy="7647573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387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18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361483" y="3441654"/>
            <a:ext cx="9365545" cy="3762108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361950" y="3734323"/>
            <a:ext cx="7980841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1950" y="5708745"/>
            <a:ext cx="7980841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539823" y="6501629"/>
            <a:ext cx="1224495" cy="521999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7546684" y="6501629"/>
            <a:ext cx="1989432" cy="52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01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FEF3396B-3978-4748-843D-D247B70A81E6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1935" y="141"/>
            <a:ext cx="10076751" cy="7559620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387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06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87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12A3A44F-F444-4CB2-B26D-40801238E6A9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1937" y="140"/>
            <a:ext cx="10076748" cy="7559618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390" y="1855"/>
            <a:ext cx="2778" cy="1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360000" y="1512000"/>
            <a:ext cx="9360000" cy="2660399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2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10080625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E843056-B378-4030-8B48-487F6875466A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60000" y="288000"/>
            <a:ext cx="4607288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360000" y="1620000"/>
            <a:ext cx="4608000" cy="4896000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11200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B9D0539-3F8A-448F-B374-7FA36E20DEB7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390" y="1855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20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5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112000" y="288000"/>
            <a:ext cx="4610100" cy="942286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112000" y="1620000"/>
            <a:ext cx="4608000" cy="4896000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4968000" cy="7561263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6004ECA3-E001-408A-A9D2-4A602A0C7364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11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FEF7820D-8568-4EDA-A63F-46C5DD7B0250}" type="datetime1">
              <a:rPr lang="hu-HU" smtClean="0"/>
              <a:t>2018.10.04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390" y="1853"/>
          <a:ext cx="1388" cy="18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63"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0" name="Picture 3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1853"/>
                        <a:ext cx="1388" cy="18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360001" y="288000"/>
            <a:ext cx="9359999" cy="5880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60000" y="1620000"/>
            <a:ext cx="9360000" cy="4896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445500" y="6980111"/>
            <a:ext cx="897210" cy="353089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C6B50E64-AFEA-4CA4-8BF1-9166F932A1A6}" type="datetime1">
              <a:rPr lang="hu-HU" noProof="0" smtClean="0"/>
              <a:t>2018.10.04.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9407166" y="6980111"/>
            <a:ext cx="319447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816351" y="6980111"/>
            <a:ext cx="4539600" cy="320455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smtClean="0"/>
              <a:t>- Internal -       Internal PM Training</a:t>
            </a:r>
            <a:endParaRPr lang="en-US" noProof="0" dirty="0" smtClean="0"/>
          </a:p>
        </p:txBody>
      </p:sp>
      <p:pic>
        <p:nvPicPr>
          <p:cNvPr id="31" name="Grafik 30" descr="T_Logo_3c_Slogan_p_INT.emf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000" y="6919200"/>
            <a:ext cx="2773050" cy="41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964" r:id="rId4"/>
    <p:sldLayoutId id="2147483967" r:id="rId5"/>
    <p:sldLayoutId id="2147483972" r:id="rId6"/>
    <p:sldLayoutId id="2147483971" r:id="rId7"/>
    <p:sldLayoutId id="2147483973" r:id="rId8"/>
    <p:sldLayoutId id="2147483716" r:id="rId9"/>
    <p:sldLayoutId id="2147483718" r:id="rId10"/>
    <p:sldLayoutId id="2147483722" r:id="rId11"/>
    <p:sldLayoutId id="2147483723" r:id="rId12"/>
    <p:sldLayoutId id="2147483969" r:id="rId13"/>
    <p:sldLayoutId id="2147483970" r:id="rId14"/>
    <p:sldLayoutId id="2147483930" r:id="rId15"/>
    <p:sldLayoutId id="2147483959" r:id="rId16"/>
    <p:sldLayoutId id="2147483960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7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Relationship Id="rId4" Type="http://schemas.microsoft.com/office/2007/relationships/hdphoto" Target="../media/hdphoto1.wdp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6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361950" y="3734323"/>
            <a:ext cx="7980841" cy="1107996"/>
          </a:xfrm>
        </p:spPr>
        <p:txBody>
          <a:bodyPr/>
          <a:lstStyle/>
          <a:p>
            <a:r>
              <a:rPr lang="hu-HU" dirty="0" smtClean="0"/>
              <a:t>Project management </a:t>
            </a:r>
            <a:br>
              <a:rPr lang="hu-HU" dirty="0" smtClean="0"/>
            </a:br>
            <a:r>
              <a:rPr lang="hu-HU" dirty="0" smtClean="0"/>
              <a:t>Project </a:t>
            </a:r>
            <a:r>
              <a:rPr lang="hu-HU" dirty="0" err="1" smtClean="0"/>
              <a:t>stakeholders</a:t>
            </a:r>
            <a:r>
              <a:rPr lang="hu-HU" dirty="0" smtClean="0"/>
              <a:t>, </a:t>
            </a:r>
            <a:r>
              <a:rPr lang="hu-HU" dirty="0" err="1" smtClean="0"/>
              <a:t>Phases</a:t>
            </a:r>
            <a:endParaRPr lang="en-US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361950" y="5708745"/>
            <a:ext cx="7980841" cy="384080"/>
          </a:xfrm>
        </p:spPr>
        <p:txBody>
          <a:bodyPr/>
          <a:lstStyle/>
          <a:p>
            <a:r>
              <a:rPr lang="hu-HU" dirty="0" smtClean="0"/>
              <a:t>Beáta Neidert, Tibor Varga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5132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341272" y="1676781"/>
            <a:ext cx="5907128" cy="16927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000">
              <a:spcBef>
                <a:spcPts val="529"/>
              </a:spcBef>
              <a:buClr>
                <a:srgbClr val="045F78"/>
              </a:buClr>
              <a:tabLst>
                <a:tab pos="392713" algn="l"/>
              </a:tabLst>
              <a:defRPr/>
            </a:pPr>
            <a:r>
              <a:rPr lang="hu-HU" sz="2200" dirty="0" smtClean="0">
                <a:solidFill>
                  <a:srgbClr val="045F78"/>
                </a:solidFill>
                <a:latin typeface="Arial"/>
                <a:cs typeface="Arial"/>
              </a:rPr>
              <a:t>Ide </a:t>
            </a:r>
            <a:r>
              <a:rPr lang="hu-HU" sz="2200" dirty="0">
                <a:solidFill>
                  <a:srgbClr val="045F78"/>
                </a:solidFill>
                <a:latin typeface="Arial"/>
                <a:cs typeface="Arial"/>
              </a:rPr>
              <a:t>tartozik az emberi erőforrásoknak a képesség és rendelkezésre állás figyelembevételével történő optimális felhasználása, beleértve az erőforrások képzését és fejlesztését is.</a:t>
            </a: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1456750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H</a:t>
            </a:r>
            <a:r>
              <a:rPr spc="-22" dirty="0"/>
              <a:t>uman</a:t>
            </a:r>
            <a:r>
              <a:rPr spc="77" dirty="0">
                <a:latin typeface="Times New Roman"/>
                <a:cs typeface="Times New Roman"/>
              </a:rPr>
              <a:t> </a:t>
            </a:r>
            <a:r>
              <a:rPr spc="-6" dirty="0"/>
              <a:t>R</a:t>
            </a:r>
            <a:r>
              <a:rPr spc="-11" dirty="0"/>
              <a:t>e</a:t>
            </a:r>
            <a:r>
              <a:rPr spc="-22" dirty="0"/>
              <a:t>so</a:t>
            </a:r>
            <a:r>
              <a:rPr spc="-28" dirty="0"/>
              <a:t>u</a:t>
            </a:r>
            <a:r>
              <a:rPr spc="-6" dirty="0"/>
              <a:t>rc</a:t>
            </a:r>
            <a:r>
              <a:rPr dirty="0"/>
              <a:t>e</a:t>
            </a:r>
            <a:r>
              <a:rPr spc="83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sp>
        <p:nvSpPr>
          <p:cNvPr id="36871" name="object 7"/>
          <p:cNvSpPr>
            <a:spLocks noChangeArrowheads="1"/>
          </p:cNvSpPr>
          <p:nvPr/>
        </p:nvSpPr>
        <p:spPr bwMode="auto">
          <a:xfrm>
            <a:off x="5995873" y="1394904"/>
            <a:ext cx="3748732" cy="3122522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pic>
        <p:nvPicPr>
          <p:cNvPr id="651266" name="Picture 2" descr="Képtalálat a következőre: „human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8461" y="4033157"/>
            <a:ext cx="6667500" cy="26193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83158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2" name="object 4"/>
          <p:cNvSpPr txBox="1">
            <a:spLocks noChangeArrowheads="1"/>
          </p:cNvSpPr>
          <p:nvPr/>
        </p:nvSpPr>
        <p:spPr bwMode="auto">
          <a:xfrm>
            <a:off x="341273" y="1183198"/>
            <a:ext cx="5058042" cy="21852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200" dirty="0" smtClean="0">
                <a:solidFill>
                  <a:srgbClr val="045F78"/>
                </a:solidFill>
                <a:latin typeface="Arial" charset="0"/>
              </a:rPr>
              <a:t>A </a:t>
            </a:r>
            <a:r>
              <a:rPr lang="hu-HU" altLang="hu-HU" sz="2200" dirty="0">
                <a:solidFill>
                  <a:srgbClr val="045F78"/>
                </a:solidFill>
                <a:latin typeface="Arial" charset="0"/>
              </a:rPr>
              <a:t>terület feladata a projektben részt vevő összes érdekelt személy és szervezet megfelelő mennyiségű, minőségű és </a:t>
            </a:r>
            <a:r>
              <a:rPr lang="hu-HU" altLang="hu-HU" sz="2200" dirty="0" err="1">
                <a:solidFill>
                  <a:srgbClr val="045F78"/>
                </a:solidFill>
                <a:latin typeface="Arial" charset="0"/>
              </a:rPr>
              <a:t>rendszerességű</a:t>
            </a:r>
            <a:r>
              <a:rPr lang="hu-HU" altLang="hu-HU" sz="2200" dirty="0">
                <a:solidFill>
                  <a:srgbClr val="045F78"/>
                </a:solidFill>
                <a:latin typeface="Arial" charset="0"/>
              </a:rPr>
              <a:t> tájékoztatása.</a:t>
            </a:r>
          </a:p>
          <a:p>
            <a:pPr eaLnBrk="1" hangingPunct="1">
              <a:spcBef>
                <a:spcPts val="28"/>
              </a:spcBef>
            </a:pPr>
            <a:endParaRPr lang="hu-HU" altLang="hu-H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1570854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Communication</a:t>
            </a:r>
            <a:r>
              <a:rPr spc="61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sp>
        <p:nvSpPr>
          <p:cNvPr id="37909" name="object 21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="t" anchorCtr="0" compatLnSpc="1">
            <a:prstTxWarp prst="textNoShape">
              <a:avLst/>
            </a:prstTxWarp>
          </a:bodyPr>
          <a:lstStyle>
            <a:lvl1pPr marL="28001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819028" indent="-315011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260043" indent="-252009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764060" indent="-252009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268078" indent="-252009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772095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3276112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780130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4284147" indent="-252009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hu-HU" altLang="hu-HU" sz="1300" dirty="0">
              <a:latin typeface="Arial" charset="0"/>
              <a:cs typeface="Arial" charset="0"/>
            </a:endParaRPr>
          </a:p>
        </p:txBody>
      </p:sp>
      <p:pic>
        <p:nvPicPr>
          <p:cNvPr id="652290" name="Picture 2" descr="Secret Codes cartoons, Secret Codes cartoon, funny, Secret Codes picture, Secret Codes pictures, Secret Codes image, Secret Codes images, Secret Codes illustration, Secret Codes illustration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7835" y="1144068"/>
            <a:ext cx="3810000" cy="476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3853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341273" y="1242708"/>
            <a:ext cx="7311384" cy="249812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000">
              <a:spcBef>
                <a:spcPts val="529"/>
              </a:spcBef>
              <a:buClr>
                <a:srgbClr val="045F78"/>
              </a:buClr>
              <a:tabLst>
                <a:tab pos="392713" algn="l"/>
              </a:tabLst>
              <a:defRPr/>
            </a:pPr>
            <a:r>
              <a:rPr lang="hu-HU" sz="2200" dirty="0">
                <a:solidFill>
                  <a:srgbClr val="045F78"/>
                </a:solidFill>
                <a:latin typeface="Arial"/>
                <a:cs typeface="Arial"/>
              </a:rPr>
              <a:t>Minőségi és mennyiségi kockázatelemzés, elkerülési és tartaléktervek </a:t>
            </a:r>
            <a:r>
              <a:rPr lang="hu-HU" sz="2200" dirty="0" smtClean="0">
                <a:solidFill>
                  <a:srgbClr val="045F78"/>
                </a:solidFill>
                <a:latin typeface="Arial"/>
                <a:cs typeface="Arial"/>
              </a:rPr>
              <a:t>kidolgozása, a kockázati tényezők azonosítása elemzése és megfelelő </a:t>
            </a:r>
            <a:r>
              <a:rPr lang="hu-HU" sz="2200" dirty="0">
                <a:solidFill>
                  <a:srgbClr val="045F78"/>
                </a:solidFill>
                <a:latin typeface="Arial"/>
                <a:cs typeface="Arial"/>
              </a:rPr>
              <a:t>válaszlépések </a:t>
            </a:r>
            <a:r>
              <a:rPr lang="hu-HU" sz="2200" dirty="0" smtClean="0">
                <a:solidFill>
                  <a:srgbClr val="045F78"/>
                </a:solidFill>
                <a:latin typeface="Arial"/>
                <a:cs typeface="Arial"/>
              </a:rPr>
              <a:t>definiálása</a:t>
            </a:r>
            <a:endParaRPr lang="hu-HU" sz="2200" dirty="0">
              <a:solidFill>
                <a:srgbClr val="045F78"/>
              </a:solidFill>
              <a:latin typeface="Arial"/>
              <a:cs typeface="Arial"/>
            </a:endParaRPr>
          </a:p>
          <a:p>
            <a:pPr marL="392013" indent="-378013">
              <a:spcBef>
                <a:spcPts val="529"/>
              </a:spcBef>
              <a:buClr>
                <a:srgbClr val="045F78"/>
              </a:buClr>
              <a:buFont typeface="Wingdings"/>
              <a:buChar char=""/>
              <a:tabLst>
                <a:tab pos="392713" algn="l"/>
              </a:tabLst>
              <a:defRPr/>
            </a:pPr>
            <a:r>
              <a:rPr lang="en-US" sz="2200" dirty="0" smtClean="0">
                <a:solidFill>
                  <a:srgbClr val="045F78"/>
                </a:solidFill>
                <a:latin typeface="Arial"/>
                <a:cs typeface="Arial"/>
              </a:rPr>
              <a:t>M</a:t>
            </a:r>
            <a:r>
              <a:rPr sz="2200" dirty="0" smtClean="0">
                <a:solidFill>
                  <a:srgbClr val="045F78"/>
                </a:solidFill>
                <a:latin typeface="Arial"/>
                <a:cs typeface="Arial"/>
              </a:rPr>
              <a:t>ax</a:t>
            </a:r>
            <a:r>
              <a:rPr sz="2200" spc="-11" dirty="0" smtClean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sz="2200" dirty="0" smtClean="0">
                <a:solidFill>
                  <a:srgbClr val="045F78"/>
                </a:solidFill>
                <a:latin typeface="Arial"/>
                <a:cs typeface="Arial"/>
              </a:rPr>
              <a:t>m</a:t>
            </a:r>
            <a:r>
              <a:rPr lang="hu-HU" sz="2200" dirty="0" err="1" smtClean="0">
                <a:solidFill>
                  <a:srgbClr val="045F78"/>
                </a:solidFill>
                <a:latin typeface="Arial"/>
                <a:cs typeface="Arial"/>
              </a:rPr>
              <a:t>alizálja</a:t>
            </a:r>
            <a:r>
              <a:rPr lang="hu-HU" sz="2200" dirty="0" smtClean="0">
                <a:solidFill>
                  <a:srgbClr val="045F78"/>
                </a:solidFill>
                <a:latin typeface="Arial"/>
                <a:cs typeface="Arial"/>
              </a:rPr>
              <a:t> (pozitív) lehetőségek bekövetkezésének valószínűségét </a:t>
            </a:r>
          </a:p>
          <a:p>
            <a:pPr marL="392013" indent="-378013">
              <a:spcBef>
                <a:spcPts val="529"/>
              </a:spcBef>
              <a:buClr>
                <a:srgbClr val="045F78"/>
              </a:buClr>
              <a:buFont typeface="Wingdings"/>
              <a:buChar char=""/>
              <a:tabLst>
                <a:tab pos="392713" algn="l"/>
              </a:tabLst>
              <a:defRPr/>
            </a:pPr>
            <a:r>
              <a:rPr lang="hu-HU" sz="2200" dirty="0" smtClean="0">
                <a:solidFill>
                  <a:srgbClr val="045F78"/>
                </a:solidFill>
                <a:latin typeface="Arial"/>
                <a:cs typeface="Arial"/>
              </a:rPr>
              <a:t>Minimalizálja a </a:t>
            </a:r>
            <a:r>
              <a:rPr lang="hu-HU" sz="2200" dirty="0">
                <a:solidFill>
                  <a:srgbClr val="045F78"/>
                </a:solidFill>
                <a:latin typeface="Arial"/>
                <a:cs typeface="Arial"/>
              </a:rPr>
              <a:t>bekövetkezésének valószínűségét </a:t>
            </a:r>
            <a:endParaRPr sz="3200" dirty="0">
              <a:latin typeface="Times New Roman"/>
              <a:cs typeface="Times New Roman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85085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R</a:t>
            </a:r>
            <a:r>
              <a:rPr dirty="0"/>
              <a:t>isk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6" dirty="0"/>
              <a:t>M</a:t>
            </a:r>
            <a:r>
              <a:rPr spc="-6" dirty="0"/>
              <a:t>an</a:t>
            </a:r>
            <a:r>
              <a:rPr spc="-11" dirty="0"/>
              <a:t>a</a:t>
            </a:r>
            <a:r>
              <a:rPr dirty="0"/>
              <a:t>geme</a:t>
            </a:r>
            <a:r>
              <a:rPr spc="-11" dirty="0"/>
              <a:t>n</a:t>
            </a:r>
            <a:r>
              <a:rPr dirty="0"/>
              <a:t>t</a:t>
            </a:r>
          </a:p>
        </p:txBody>
      </p:sp>
      <p:pic>
        <p:nvPicPr>
          <p:cNvPr id="65331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64850" y="1242708"/>
            <a:ext cx="2322381" cy="155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3316" name="Picture 4" descr="Képtalálat a következőre: „risk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86604" y="4365171"/>
            <a:ext cx="6517368" cy="2210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8240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40" name="object 4"/>
          <p:cNvSpPr txBox="1">
            <a:spLocks noChangeArrowheads="1"/>
          </p:cNvSpPr>
          <p:nvPr/>
        </p:nvSpPr>
        <p:spPr bwMode="auto">
          <a:xfrm>
            <a:off x="341272" y="1268962"/>
            <a:ext cx="628639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ts val="524"/>
              </a:spcBef>
              <a:buClr>
                <a:srgbClr val="045F78"/>
              </a:buClr>
            </a:pPr>
            <a:r>
              <a:rPr lang="hu-HU" altLang="hu-HU" sz="2200" dirty="0" smtClean="0">
                <a:solidFill>
                  <a:srgbClr val="045F78"/>
                </a:solidFill>
                <a:latin typeface="Arial" charset="0"/>
              </a:rPr>
              <a:t>A </a:t>
            </a:r>
            <a:r>
              <a:rPr lang="hu-HU" altLang="hu-HU" sz="2200" dirty="0">
                <a:solidFill>
                  <a:srgbClr val="045F78"/>
                </a:solidFill>
                <a:latin typeface="Arial" charset="0"/>
              </a:rPr>
              <a:t>terület feladata a beszállítókkal és partnerekkel történő együttműködés és integráció szabályozása.</a:t>
            </a:r>
            <a:endParaRPr lang="hu-HU" altLang="hu-HU" sz="2200" dirty="0">
              <a:latin typeface="Arial" charset="0"/>
            </a:endParaRP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1802562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39" dirty="0"/>
              <a:t>P</a:t>
            </a:r>
            <a:r>
              <a:rPr spc="-6" dirty="0"/>
              <a:t>rocureme</a:t>
            </a:r>
            <a:r>
              <a:rPr spc="-11" dirty="0"/>
              <a:t>n</a:t>
            </a:r>
            <a:r>
              <a:rPr dirty="0"/>
              <a:t>t</a:t>
            </a:r>
            <a:r>
              <a:rPr spc="94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sp>
        <p:nvSpPr>
          <p:cNvPr id="39943" name="object 7"/>
          <p:cNvSpPr>
            <a:spLocks noChangeArrowheads="1"/>
          </p:cNvSpPr>
          <p:nvPr/>
        </p:nvSpPr>
        <p:spPr bwMode="auto">
          <a:xfrm>
            <a:off x="6627662" y="1288215"/>
            <a:ext cx="3060939" cy="2064585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pic>
        <p:nvPicPr>
          <p:cNvPr id="654338" name="Picture 2" descr="Képtalálat a következőre: „procurement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1675" y="3431494"/>
            <a:ext cx="3086100" cy="3086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293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360000" y="294041"/>
            <a:ext cx="9364663" cy="588082"/>
          </a:xfrm>
        </p:spPr>
        <p:txBody>
          <a:bodyPr tIns="183083" rtlCol="0"/>
          <a:lstStyle/>
          <a:p>
            <a:pPr marL="2734994" fontAlgn="auto">
              <a:spcAft>
                <a:spcPts val="0"/>
              </a:spcAft>
              <a:defRPr/>
            </a:pPr>
            <a:r>
              <a:rPr spc="-17" dirty="0" smtClean="0"/>
              <a:t>Stakeholder</a:t>
            </a:r>
            <a:r>
              <a:rPr spc="77" dirty="0" smtClean="0">
                <a:latin typeface="Times New Roman"/>
                <a:cs typeface="Times New Roman"/>
              </a:rPr>
              <a:t> </a:t>
            </a:r>
            <a:r>
              <a:rPr spc="-6" dirty="0"/>
              <a:t>manage</a:t>
            </a:r>
            <a:r>
              <a:rPr spc="6" dirty="0"/>
              <a:t>m</a:t>
            </a:r>
            <a:r>
              <a:rPr spc="-6" dirty="0"/>
              <a:t>ent</a:t>
            </a:r>
          </a:p>
        </p:txBody>
      </p:sp>
      <p:sp>
        <p:nvSpPr>
          <p:cNvPr id="40965" name="object 5"/>
          <p:cNvSpPr txBox="1">
            <a:spLocks noChangeArrowheads="1"/>
          </p:cNvSpPr>
          <p:nvPr/>
        </p:nvSpPr>
        <p:spPr bwMode="auto">
          <a:xfrm>
            <a:off x="444528" y="1083432"/>
            <a:ext cx="8090752" cy="1885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ts val="524"/>
              </a:spcBef>
              <a:buClr>
                <a:srgbClr val="045F78"/>
              </a:buClr>
            </a:pPr>
            <a:r>
              <a:rPr lang="hu-HU" altLang="hu-HU" sz="2200" dirty="0" smtClean="0">
                <a:solidFill>
                  <a:srgbClr val="045F78"/>
                </a:solidFill>
                <a:latin typeface="Arial" charset="0"/>
              </a:rPr>
              <a:t>Emberek, csoportok és szervezetek feltérképezése akik hatással lehetnek a projektre vagy az rájuk</a:t>
            </a:r>
          </a:p>
          <a:p>
            <a:pPr eaLnBrk="1" hangingPunct="1">
              <a:spcBef>
                <a:spcPts val="524"/>
              </a:spcBef>
              <a:buClr>
                <a:srgbClr val="045F78"/>
              </a:buClr>
              <a:buFont typeface="Wingdings" pitchFamily="2" charset="2"/>
              <a:buChar char=""/>
            </a:pPr>
            <a:r>
              <a:rPr lang="hu-HU" altLang="hu-HU" sz="2200" dirty="0" smtClean="0">
                <a:solidFill>
                  <a:srgbClr val="045F78"/>
                </a:solidFill>
                <a:latin typeface="Arial" charset="0"/>
              </a:rPr>
              <a:t> elvárások elemzése</a:t>
            </a:r>
          </a:p>
          <a:p>
            <a:pPr eaLnBrk="1" hangingPunct="1">
              <a:spcBef>
                <a:spcPts val="524"/>
              </a:spcBef>
              <a:buClr>
                <a:srgbClr val="045F78"/>
              </a:buClr>
              <a:buFont typeface="Wingdings" pitchFamily="2" charset="2"/>
              <a:buChar char=""/>
            </a:pPr>
            <a:r>
              <a:rPr lang="hu-HU" altLang="hu-HU" sz="2200" dirty="0">
                <a:solidFill>
                  <a:srgbClr val="045F78"/>
                </a:solidFill>
                <a:latin typeface="Arial" charset="0"/>
              </a:rPr>
              <a:t> </a:t>
            </a:r>
            <a:r>
              <a:rPr lang="hu-HU" altLang="hu-HU" sz="2200" dirty="0" err="1" smtClean="0">
                <a:solidFill>
                  <a:srgbClr val="045F78"/>
                </a:solidFill>
                <a:latin typeface="Arial" charset="0"/>
              </a:rPr>
              <a:t>Stakeholder</a:t>
            </a:r>
            <a:r>
              <a:rPr lang="hu-HU" altLang="hu-HU" sz="2200" dirty="0" smtClean="0">
                <a:solidFill>
                  <a:srgbClr val="045F78"/>
                </a:solidFill>
                <a:latin typeface="Arial" charset="0"/>
              </a:rPr>
              <a:t> kezelési stratégiák kidolgozása</a:t>
            </a:r>
            <a:endParaRPr lang="hu-HU" altLang="hu-HU" sz="2200" dirty="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045F78"/>
              </a:buClr>
              <a:buFont typeface="Wingdings" pitchFamily="2" charset="2"/>
              <a:buChar char=""/>
            </a:pPr>
            <a:r>
              <a:rPr lang="hu-HU" altLang="hu-HU" sz="2200" dirty="0">
                <a:solidFill>
                  <a:srgbClr val="045F78"/>
                </a:solidFill>
                <a:latin typeface="Arial" charset="0"/>
              </a:rPr>
              <a:t> </a:t>
            </a:r>
            <a:r>
              <a:rPr lang="hu-HU" altLang="hu-HU" sz="2200" dirty="0" err="1" smtClean="0">
                <a:solidFill>
                  <a:srgbClr val="045F78"/>
                </a:solidFill>
                <a:latin typeface="Arial" charset="0"/>
              </a:rPr>
              <a:t>Stakeholder-ek</a:t>
            </a:r>
            <a:r>
              <a:rPr lang="hu-HU" altLang="hu-HU" sz="2200" dirty="0" smtClean="0">
                <a:solidFill>
                  <a:srgbClr val="045F78"/>
                </a:solidFill>
                <a:latin typeface="Arial" charset="0"/>
              </a:rPr>
              <a:t> elégedettségének szem előtt tartása</a:t>
            </a:r>
            <a:endParaRPr lang="hu-HU" altLang="hu-HU" sz="2200" dirty="0">
              <a:latin typeface="Arial" charset="0"/>
            </a:endParaRPr>
          </a:p>
        </p:txBody>
      </p:sp>
      <p:pic>
        <p:nvPicPr>
          <p:cNvPr id="655362" name="Picture 2" descr="Képtalálat a következőre: „stakeholder management”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53003" y="3137580"/>
            <a:ext cx="6629400" cy="34099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1548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cess </a:t>
            </a:r>
            <a:r>
              <a:rPr lang="hu-HU" dirty="0" err="1" smtClean="0"/>
              <a:t>groups</a:t>
            </a:r>
            <a:endParaRPr lang="hu-HU" dirty="0"/>
          </a:p>
        </p:txBody>
      </p:sp>
      <p:sp>
        <p:nvSpPr>
          <p:cNvPr id="6" name="Oval 5"/>
          <p:cNvSpPr/>
          <p:nvPr/>
        </p:nvSpPr>
        <p:spPr bwMode="gray">
          <a:xfrm>
            <a:off x="2446890" y="1358357"/>
            <a:ext cx="5180193" cy="5043516"/>
          </a:xfrm>
          <a:prstGeom prst="ellipse">
            <a:avLst/>
          </a:prstGeom>
          <a:solidFill>
            <a:schemeClr val="bg1">
              <a:lumMod val="95000"/>
            </a:schemeClr>
          </a:solidFill>
          <a:ln w="19050" algn="ctr">
            <a:solidFill>
              <a:schemeClr val="tx1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7" name="Right Arrow 6"/>
          <p:cNvSpPr/>
          <p:nvPr/>
        </p:nvSpPr>
        <p:spPr bwMode="gray">
          <a:xfrm>
            <a:off x="6459636" y="3356392"/>
            <a:ext cx="1480073" cy="1076960"/>
          </a:xfrm>
          <a:prstGeom prst="right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3606469" y="1512271"/>
            <a:ext cx="2946400" cy="4674782"/>
            <a:chOff x="924560" y="974178"/>
            <a:chExt cx="2946400" cy="4674782"/>
          </a:xfrm>
        </p:grpSpPr>
        <p:grpSp>
          <p:nvGrpSpPr>
            <p:cNvPr id="9" name="Group 8"/>
            <p:cNvGrpSpPr/>
            <p:nvPr/>
          </p:nvGrpSpPr>
          <p:grpSpPr>
            <a:xfrm>
              <a:off x="1219200" y="974178"/>
              <a:ext cx="2651760" cy="2548082"/>
              <a:chOff x="1219200" y="974178"/>
              <a:chExt cx="2651760" cy="2548082"/>
            </a:xfrm>
          </p:grpSpPr>
          <p:sp>
            <p:nvSpPr>
              <p:cNvPr id="13" name="U-Turn Arrow 12"/>
              <p:cNvSpPr/>
              <p:nvPr/>
            </p:nvSpPr>
            <p:spPr bwMode="gray">
              <a:xfrm>
                <a:off x="1219200" y="974178"/>
                <a:ext cx="2651760" cy="2548082"/>
              </a:xfrm>
              <a:prstGeom prst="uturnArrow">
                <a:avLst/>
              </a:prstGeom>
              <a:solidFill>
                <a:schemeClr val="tx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square" lIns="108000" tIns="108000" rIns="108000" bIns="108000" rtlCol="0" anchor="ctr" anchorCtr="0">
                <a:spAutoFit/>
              </a:bodyPr>
              <a:lstStyle/>
              <a:p>
                <a:pPr algn="ctr" defTabSz="457293" fontAlgn="base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endParaRPr lang="hu-HU" sz="1800" dirty="0" smtClean="0">
                  <a:latin typeface="Tele-GroteskNor" pitchFamily="2" charset="0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4" name="TextBox 13"/>
              <p:cNvSpPr txBox="1"/>
              <p:nvPr/>
            </p:nvSpPr>
            <p:spPr>
              <a:xfrm>
                <a:off x="1547358" y="1014818"/>
                <a:ext cx="1615440" cy="584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457322" fontAlgn="base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</a:pP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lanning</a:t>
                </a:r>
                <a: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/>
                </a:r>
                <a:b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</a:b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rocesses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924560" y="3100878"/>
              <a:ext cx="2651760" cy="2548082"/>
              <a:chOff x="924560" y="3100878"/>
              <a:chExt cx="2651760" cy="2548082"/>
            </a:xfrm>
          </p:grpSpPr>
          <p:sp>
            <p:nvSpPr>
              <p:cNvPr id="11" name="U-Turn Arrow 10"/>
              <p:cNvSpPr/>
              <p:nvPr/>
            </p:nvSpPr>
            <p:spPr bwMode="gray">
              <a:xfrm rot="10800000">
                <a:off x="924560" y="3100878"/>
                <a:ext cx="2651760" cy="2548082"/>
              </a:xfrm>
              <a:prstGeom prst="uturnArrow">
                <a:avLst/>
              </a:prstGeom>
              <a:solidFill>
                <a:schemeClr val="tx2"/>
              </a:solidFill>
              <a:ln w="19050" algn="ctr">
                <a:solidFill>
                  <a:schemeClr val="tx2"/>
                </a:solidFill>
                <a:miter lim="800000"/>
                <a:headEnd/>
                <a:tailEnd/>
              </a:ln>
              <a:effectLst/>
            </p:spPr>
            <p:txBody>
              <a:bodyPr wrap="square" lIns="108000" tIns="108000" rIns="108000" bIns="108000" rtlCol="0" anchor="ctr" anchorCtr="0">
                <a:spAutoFit/>
              </a:bodyPr>
              <a:lstStyle/>
              <a:p>
                <a:pPr algn="ctr" defTabSz="457293" fontAlgn="base">
                  <a:lnSpc>
                    <a:spcPct val="90000"/>
                  </a:lnSpc>
                  <a:buClr>
                    <a:srgbClr val="E20074"/>
                  </a:buClr>
                  <a:buSzPct val="75000"/>
                </a:pPr>
                <a:endParaRPr lang="hu-HU" sz="1800" dirty="0" smtClean="0">
                  <a:latin typeface="Tele-GroteskNor" pitchFamily="2" charset="0"/>
                  <a:cs typeface="Arial Unicode MS" panose="020B0604020202020204" pitchFamily="34" charset="-128"/>
                </a:endParaRP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1547358" y="4971797"/>
                <a:ext cx="1615440" cy="58489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72000" tIns="36000" rIns="72000" bIns="3600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algn="ctr" defTabSz="457322" fontAlgn="base">
                  <a:lnSpc>
                    <a:spcPct val="104000"/>
                  </a:lnSpc>
                  <a:spcBef>
                    <a:spcPts val="300"/>
                  </a:spcBef>
                  <a:spcAft>
                    <a:spcPct val="0"/>
                  </a:spcAft>
                  <a:buClr>
                    <a:schemeClr val="tx1"/>
                  </a:buClr>
                  <a:buSzPct val="70000"/>
                </a:pP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Executing</a:t>
                </a:r>
                <a: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/>
                </a:r>
                <a:br>
                  <a:rPr lang="hu-HU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</a:br>
                <a:r>
                  <a:rPr lang="en-US" sz="1600" dirty="0" smtClean="0">
                    <a:solidFill>
                      <a:schemeClr val="bg1"/>
                    </a:solidFill>
                    <a:latin typeface="Tele-GroteskEEFet" pitchFamily="2" charset="0"/>
                    <a:ea typeface="Swagger" pitchFamily="2" charset="0"/>
                  </a:rPr>
                  <a:t>processes</a:t>
                </a:r>
              </a:p>
            </p:txBody>
          </p:sp>
        </p:grpSp>
      </p:grpSp>
      <p:sp>
        <p:nvSpPr>
          <p:cNvPr id="15" name="Right Arrow 14"/>
          <p:cNvSpPr/>
          <p:nvPr/>
        </p:nvSpPr>
        <p:spPr bwMode="gray">
          <a:xfrm>
            <a:off x="2243236" y="3341635"/>
            <a:ext cx="1480073" cy="1076960"/>
          </a:xfrm>
          <a:prstGeom prst="rightArrow">
            <a:avLst/>
          </a:prstGeom>
          <a:solidFill>
            <a:schemeClr val="tx2"/>
          </a:solidFill>
          <a:ln w="19050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243236" y="3597093"/>
            <a:ext cx="1124472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Initiating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459636" y="3602424"/>
            <a:ext cx="992394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Closing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  <p:sp>
        <p:nvSpPr>
          <p:cNvPr id="18" name="Right Arrow 17"/>
          <p:cNvSpPr/>
          <p:nvPr/>
        </p:nvSpPr>
        <p:spPr bwMode="gray">
          <a:xfrm>
            <a:off x="8092108" y="3356392"/>
            <a:ext cx="1584000" cy="1076960"/>
          </a:xfrm>
          <a:prstGeom prst="rightArrow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19" name="Right Arrow 18"/>
          <p:cNvSpPr/>
          <p:nvPr/>
        </p:nvSpPr>
        <p:spPr bwMode="gray">
          <a:xfrm>
            <a:off x="512751" y="3341635"/>
            <a:ext cx="1584428" cy="1076960"/>
          </a:xfrm>
          <a:prstGeom prst="rightArrow">
            <a:avLst/>
          </a:prstGeom>
          <a:solidFill>
            <a:schemeClr val="tx1"/>
          </a:solidFill>
          <a:ln w="19050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12751" y="3587667"/>
            <a:ext cx="141170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nter Phase / Start project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8092108" y="3587666"/>
            <a:ext cx="141170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xit Phase /</a:t>
            </a:r>
            <a:b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solidFill>
                  <a:schemeClr val="bg1"/>
                </a:solidFill>
                <a:latin typeface="Tele-GroteskEEFet" pitchFamily="2" charset="0"/>
                <a:ea typeface="Swagger" pitchFamily="2" charset="0"/>
              </a:rPr>
              <a:t>End project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708711" y="2410136"/>
            <a:ext cx="2133866" cy="5848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600" dirty="0" smtClean="0">
                <a:latin typeface="Tele-GroteskEEFet" pitchFamily="2" charset="0"/>
                <a:ea typeface="Swagger" pitchFamily="2" charset="0"/>
              </a:rPr>
              <a:t>Monitoring &amp; Controlling</a:t>
            </a:r>
            <a:br>
              <a:rPr lang="en-US" sz="1600" dirty="0" smtClean="0">
                <a:latin typeface="Tele-GroteskEEFet" pitchFamily="2" charset="0"/>
                <a:ea typeface="Swagger" pitchFamily="2" charset="0"/>
              </a:rPr>
            </a:br>
            <a:r>
              <a:rPr lang="en-US" sz="1600" dirty="0" smtClean="0">
                <a:latin typeface="Tele-GroteskEEFet" pitchFamily="2" charset="0"/>
                <a:ea typeface="Swagger" pitchFamily="2" charset="0"/>
              </a:rPr>
              <a:t>processes</a:t>
            </a:r>
          </a:p>
        </p:txBody>
      </p:sp>
    </p:spTree>
    <p:extLst>
      <p:ext uri="{BB962C8B-B14F-4D97-AF65-F5344CB8AC3E}">
        <p14:creationId xmlns:p14="http://schemas.microsoft.com/office/powerpoint/2010/main" val="1816849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/>
        <p:txBody>
          <a:bodyPr tIns="183083" rtlCol="0"/>
          <a:lstStyle/>
          <a:p>
            <a:pPr marL="1446250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66" dirty="0">
                <a:latin typeface="Times New Roman"/>
                <a:cs typeface="Times New Roman"/>
              </a:rPr>
              <a:t> </a:t>
            </a:r>
            <a:r>
              <a:rPr spc="-6" dirty="0"/>
              <a:t>phas</a:t>
            </a:r>
            <a:r>
              <a:rPr dirty="0"/>
              <a:t>e</a:t>
            </a:r>
            <a:r>
              <a:rPr spc="83" dirty="0">
                <a:latin typeface="Times New Roman"/>
                <a:cs typeface="Times New Roman"/>
              </a:rPr>
              <a:t> </a:t>
            </a:r>
            <a:r>
              <a:rPr dirty="0"/>
              <a:t>vs.</a:t>
            </a:r>
            <a:r>
              <a:rPr spc="-11" dirty="0"/>
              <a:t> </a:t>
            </a:r>
            <a:r>
              <a:rPr dirty="0" err="1"/>
              <a:t>Pro</a:t>
            </a:r>
            <a:r>
              <a:rPr spc="-11" dirty="0" err="1"/>
              <a:t>c</a:t>
            </a:r>
            <a:r>
              <a:rPr dirty="0" err="1"/>
              <a:t>ess</a:t>
            </a:r>
            <a:r>
              <a:rPr spc="6" dirty="0"/>
              <a:t> </a:t>
            </a:r>
            <a:r>
              <a:rPr dirty="0" smtClean="0"/>
              <a:t>Groups</a:t>
            </a:r>
            <a:endParaRPr dirty="0"/>
          </a:p>
        </p:txBody>
      </p:sp>
      <p:sp>
        <p:nvSpPr>
          <p:cNvPr id="21509" name="object 5"/>
          <p:cNvSpPr>
            <a:spLocks noChangeArrowheads="1"/>
          </p:cNvSpPr>
          <p:nvPr/>
        </p:nvSpPr>
        <p:spPr bwMode="auto">
          <a:xfrm>
            <a:off x="264267" y="1664529"/>
            <a:ext cx="1610100" cy="957409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10" name="object 6"/>
          <p:cNvSpPr txBox="1">
            <a:spLocks noChangeArrowheads="1"/>
          </p:cNvSpPr>
          <p:nvPr/>
        </p:nvSpPr>
        <p:spPr bwMode="auto">
          <a:xfrm>
            <a:off x="456779" y="1981331"/>
            <a:ext cx="122682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hu-HU" altLang="hu-HU" sz="1800" dirty="0" smtClean="0">
                <a:solidFill>
                  <a:srgbClr val="FFFFFF"/>
                </a:solidFill>
                <a:cs typeface="Calibri" pitchFamily="34" charset="0"/>
              </a:rPr>
              <a:t>Specifikáció</a:t>
            </a:r>
            <a:endParaRPr lang="hu-HU" altLang="hu-HU" sz="1800" dirty="0">
              <a:cs typeface="Calibri" pitchFamily="34" charset="0"/>
            </a:endParaRPr>
          </a:p>
        </p:txBody>
      </p:sp>
      <p:sp>
        <p:nvSpPr>
          <p:cNvPr id="21511" name="object 7"/>
          <p:cNvSpPr>
            <a:spLocks/>
          </p:cNvSpPr>
          <p:nvPr/>
        </p:nvSpPr>
        <p:spPr bwMode="auto">
          <a:xfrm>
            <a:off x="1919869" y="1935824"/>
            <a:ext cx="301019" cy="353559"/>
          </a:xfrm>
          <a:custGeom>
            <a:avLst/>
            <a:gdLst>
              <a:gd name="T0" fmla="*/ 136397 w 273050"/>
              <a:gd name="T1" fmla="*/ 0 h 320039"/>
              <a:gd name="T2" fmla="*/ 136397 w 273050"/>
              <a:gd name="T3" fmla="*/ 64261 h 320039"/>
              <a:gd name="T4" fmla="*/ 0 w 273050"/>
              <a:gd name="T5" fmla="*/ 64261 h 320039"/>
              <a:gd name="T6" fmla="*/ 0 w 273050"/>
              <a:gd name="T7" fmla="*/ 257050 h 320039"/>
              <a:gd name="T8" fmla="*/ 136397 w 273050"/>
              <a:gd name="T9" fmla="*/ 257050 h 320039"/>
              <a:gd name="T10" fmla="*/ 136397 w 273050"/>
              <a:gd name="T11" fmla="*/ 321312 h 320039"/>
              <a:gd name="T12" fmla="*/ 272795 w 273050"/>
              <a:gd name="T13" fmla="*/ 160656 h 320039"/>
              <a:gd name="T14" fmla="*/ 136397 w 273050"/>
              <a:gd name="T15" fmla="*/ 0 h 3200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73050" h="320039">
                <a:moveTo>
                  <a:pt x="136397" y="0"/>
                </a:moveTo>
                <a:lnTo>
                  <a:pt x="136397" y="64007"/>
                </a:lnTo>
                <a:lnTo>
                  <a:pt x="0" y="64007"/>
                </a:lnTo>
                <a:lnTo>
                  <a:pt x="0" y="256031"/>
                </a:lnTo>
                <a:lnTo>
                  <a:pt x="136397" y="256031"/>
                </a:lnTo>
                <a:lnTo>
                  <a:pt x="136397" y="320039"/>
                </a:lnTo>
                <a:lnTo>
                  <a:pt x="272795" y="160019"/>
                </a:lnTo>
                <a:lnTo>
                  <a:pt x="136397" y="0"/>
                </a:lnTo>
                <a:close/>
              </a:path>
            </a:pathLst>
          </a:custGeom>
          <a:solidFill>
            <a:srgbClr val="B1C1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1512" name="object 8"/>
          <p:cNvSpPr>
            <a:spLocks noChangeArrowheads="1"/>
          </p:cNvSpPr>
          <p:nvPr/>
        </p:nvSpPr>
        <p:spPr bwMode="auto">
          <a:xfrm>
            <a:off x="2292643" y="1664529"/>
            <a:ext cx="1524345" cy="957409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9" name="object 9"/>
          <p:cNvSpPr txBox="1"/>
          <p:nvPr/>
        </p:nvSpPr>
        <p:spPr>
          <a:xfrm>
            <a:off x="2549909" y="1981331"/>
            <a:ext cx="1011563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sz="1800" spc="-28" dirty="0">
                <a:solidFill>
                  <a:srgbClr val="FFFFFF"/>
                </a:solidFill>
                <a:latin typeface="Calibri"/>
                <a:cs typeface="Calibri"/>
              </a:rPr>
              <a:t>F</a:t>
            </a: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ej</a:t>
            </a:r>
            <a:r>
              <a:rPr sz="1800" spc="-6" dirty="0">
                <a:solidFill>
                  <a:srgbClr val="FFFFFF"/>
                </a:solidFill>
                <a:latin typeface="Calibri"/>
                <a:cs typeface="Calibri"/>
              </a:rPr>
              <a:t>l</a:t>
            </a: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es</a:t>
            </a:r>
            <a:r>
              <a:rPr sz="1800" spc="-11" dirty="0">
                <a:solidFill>
                  <a:srgbClr val="FFFFFF"/>
                </a:solidFill>
                <a:latin typeface="Calibri"/>
                <a:cs typeface="Calibri"/>
              </a:rPr>
              <a:t>z</a:t>
            </a:r>
            <a:r>
              <a:rPr sz="1800" spc="-33" dirty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és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1514" name="object 10"/>
          <p:cNvSpPr>
            <a:spLocks/>
          </p:cNvSpPr>
          <p:nvPr/>
        </p:nvSpPr>
        <p:spPr bwMode="auto">
          <a:xfrm>
            <a:off x="3906242" y="1935824"/>
            <a:ext cx="301019" cy="353559"/>
          </a:xfrm>
          <a:custGeom>
            <a:avLst/>
            <a:gdLst>
              <a:gd name="T0" fmla="*/ 136397 w 273050"/>
              <a:gd name="T1" fmla="*/ 0 h 320039"/>
              <a:gd name="T2" fmla="*/ 136397 w 273050"/>
              <a:gd name="T3" fmla="*/ 64261 h 320039"/>
              <a:gd name="T4" fmla="*/ 0 w 273050"/>
              <a:gd name="T5" fmla="*/ 64261 h 320039"/>
              <a:gd name="T6" fmla="*/ 0 w 273050"/>
              <a:gd name="T7" fmla="*/ 257050 h 320039"/>
              <a:gd name="T8" fmla="*/ 136397 w 273050"/>
              <a:gd name="T9" fmla="*/ 257050 h 320039"/>
              <a:gd name="T10" fmla="*/ 136397 w 273050"/>
              <a:gd name="T11" fmla="*/ 321312 h 320039"/>
              <a:gd name="T12" fmla="*/ 272795 w 273050"/>
              <a:gd name="T13" fmla="*/ 160656 h 320039"/>
              <a:gd name="T14" fmla="*/ 136397 w 273050"/>
              <a:gd name="T15" fmla="*/ 0 h 3200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73050" h="320039">
                <a:moveTo>
                  <a:pt x="136397" y="0"/>
                </a:moveTo>
                <a:lnTo>
                  <a:pt x="136397" y="64007"/>
                </a:lnTo>
                <a:lnTo>
                  <a:pt x="0" y="64007"/>
                </a:lnTo>
                <a:lnTo>
                  <a:pt x="0" y="256031"/>
                </a:lnTo>
                <a:lnTo>
                  <a:pt x="136397" y="256031"/>
                </a:lnTo>
                <a:lnTo>
                  <a:pt x="136397" y="320039"/>
                </a:lnTo>
                <a:lnTo>
                  <a:pt x="272795" y="160019"/>
                </a:lnTo>
                <a:lnTo>
                  <a:pt x="136397" y="0"/>
                </a:lnTo>
                <a:close/>
              </a:path>
            </a:pathLst>
          </a:custGeom>
          <a:solidFill>
            <a:srgbClr val="B1C1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1515" name="object 11"/>
          <p:cNvSpPr>
            <a:spLocks noChangeArrowheads="1"/>
          </p:cNvSpPr>
          <p:nvPr/>
        </p:nvSpPr>
        <p:spPr bwMode="auto">
          <a:xfrm>
            <a:off x="4277265" y="1664529"/>
            <a:ext cx="1526095" cy="957409"/>
          </a:xfrm>
          <a:prstGeom prst="rect">
            <a:avLst/>
          </a:prstGeo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12" name="object 12"/>
          <p:cNvSpPr txBox="1"/>
          <p:nvPr/>
        </p:nvSpPr>
        <p:spPr>
          <a:xfrm>
            <a:off x="4569534" y="1981331"/>
            <a:ext cx="939808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sz="1800" spc="-176" dirty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es</a:t>
            </a:r>
            <a:r>
              <a:rPr sz="1800" spc="-11" dirty="0">
                <a:solidFill>
                  <a:srgbClr val="FFFFFF"/>
                </a:solidFill>
                <a:latin typeface="Calibri"/>
                <a:cs typeface="Calibri"/>
              </a:rPr>
              <a:t>z</a:t>
            </a:r>
            <a:r>
              <a:rPr sz="1800" spc="-33" dirty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elés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1517" name="object 13"/>
          <p:cNvSpPr>
            <a:spLocks/>
          </p:cNvSpPr>
          <p:nvPr/>
        </p:nvSpPr>
        <p:spPr bwMode="auto">
          <a:xfrm>
            <a:off x="5890865" y="1935824"/>
            <a:ext cx="301019" cy="353559"/>
          </a:xfrm>
          <a:custGeom>
            <a:avLst/>
            <a:gdLst>
              <a:gd name="T0" fmla="*/ 136397 w 273050"/>
              <a:gd name="T1" fmla="*/ 0 h 320039"/>
              <a:gd name="T2" fmla="*/ 136397 w 273050"/>
              <a:gd name="T3" fmla="*/ 64261 h 320039"/>
              <a:gd name="T4" fmla="*/ 0 w 273050"/>
              <a:gd name="T5" fmla="*/ 64261 h 320039"/>
              <a:gd name="T6" fmla="*/ 0 w 273050"/>
              <a:gd name="T7" fmla="*/ 257050 h 320039"/>
              <a:gd name="T8" fmla="*/ 136397 w 273050"/>
              <a:gd name="T9" fmla="*/ 257050 h 320039"/>
              <a:gd name="T10" fmla="*/ 136397 w 273050"/>
              <a:gd name="T11" fmla="*/ 321312 h 320039"/>
              <a:gd name="T12" fmla="*/ 272795 w 273050"/>
              <a:gd name="T13" fmla="*/ 160656 h 320039"/>
              <a:gd name="T14" fmla="*/ 136397 w 273050"/>
              <a:gd name="T15" fmla="*/ 0 h 3200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73050" h="320039">
                <a:moveTo>
                  <a:pt x="136397" y="0"/>
                </a:moveTo>
                <a:lnTo>
                  <a:pt x="136397" y="64007"/>
                </a:lnTo>
                <a:lnTo>
                  <a:pt x="0" y="64007"/>
                </a:lnTo>
                <a:lnTo>
                  <a:pt x="0" y="256031"/>
                </a:lnTo>
                <a:lnTo>
                  <a:pt x="136397" y="256031"/>
                </a:lnTo>
                <a:lnTo>
                  <a:pt x="136397" y="320039"/>
                </a:lnTo>
                <a:lnTo>
                  <a:pt x="272795" y="160019"/>
                </a:lnTo>
                <a:lnTo>
                  <a:pt x="136397" y="0"/>
                </a:lnTo>
                <a:close/>
              </a:path>
            </a:pathLst>
          </a:custGeom>
          <a:solidFill>
            <a:srgbClr val="B1C1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1518" name="object 14"/>
          <p:cNvSpPr>
            <a:spLocks noChangeArrowheads="1"/>
          </p:cNvSpPr>
          <p:nvPr/>
        </p:nvSpPr>
        <p:spPr bwMode="auto">
          <a:xfrm>
            <a:off x="6263639" y="1664529"/>
            <a:ext cx="1524344" cy="957409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15" name="object 15"/>
          <p:cNvSpPr txBox="1"/>
          <p:nvPr/>
        </p:nvSpPr>
        <p:spPr>
          <a:xfrm>
            <a:off x="6499903" y="1981331"/>
            <a:ext cx="1050065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Be</a:t>
            </a:r>
            <a:r>
              <a:rPr sz="1800" spc="-17" dirty="0">
                <a:solidFill>
                  <a:srgbClr val="FFFFFF"/>
                </a:solidFill>
                <a:latin typeface="Calibri"/>
                <a:cs typeface="Calibri"/>
              </a:rPr>
              <a:t>v</a:t>
            </a:r>
            <a:r>
              <a:rPr sz="1800" spc="-11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800" spc="-44" dirty="0">
                <a:solidFill>
                  <a:srgbClr val="FFFFFF"/>
                </a:solidFill>
                <a:latin typeface="Calibri"/>
                <a:cs typeface="Calibri"/>
              </a:rPr>
              <a:t>z</a:t>
            </a:r>
            <a:r>
              <a:rPr sz="1800" spc="-11" dirty="0">
                <a:solidFill>
                  <a:srgbClr val="FFFFFF"/>
                </a:solidFill>
                <a:latin typeface="Calibri"/>
                <a:cs typeface="Calibri"/>
              </a:rPr>
              <a:t>e</a:t>
            </a:r>
            <a:r>
              <a:rPr sz="1800" spc="-33" dirty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800" dirty="0">
                <a:solidFill>
                  <a:srgbClr val="FFFFFF"/>
                </a:solidFill>
                <a:latin typeface="Calibri"/>
                <a:cs typeface="Calibri"/>
              </a:rPr>
              <a:t>és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21520" name="object 16"/>
          <p:cNvSpPr>
            <a:spLocks/>
          </p:cNvSpPr>
          <p:nvPr/>
        </p:nvSpPr>
        <p:spPr bwMode="auto">
          <a:xfrm>
            <a:off x="7875488" y="1935824"/>
            <a:ext cx="301019" cy="353559"/>
          </a:xfrm>
          <a:custGeom>
            <a:avLst/>
            <a:gdLst>
              <a:gd name="T0" fmla="*/ 136397 w 273050"/>
              <a:gd name="T1" fmla="*/ 0 h 320039"/>
              <a:gd name="T2" fmla="*/ 136397 w 273050"/>
              <a:gd name="T3" fmla="*/ 64261 h 320039"/>
              <a:gd name="T4" fmla="*/ 0 w 273050"/>
              <a:gd name="T5" fmla="*/ 64261 h 320039"/>
              <a:gd name="T6" fmla="*/ 0 w 273050"/>
              <a:gd name="T7" fmla="*/ 257050 h 320039"/>
              <a:gd name="T8" fmla="*/ 136397 w 273050"/>
              <a:gd name="T9" fmla="*/ 257050 h 320039"/>
              <a:gd name="T10" fmla="*/ 136397 w 273050"/>
              <a:gd name="T11" fmla="*/ 321312 h 320039"/>
              <a:gd name="T12" fmla="*/ 272795 w 273050"/>
              <a:gd name="T13" fmla="*/ 160656 h 320039"/>
              <a:gd name="T14" fmla="*/ 136397 w 273050"/>
              <a:gd name="T15" fmla="*/ 0 h 32003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0" t="0" r="r" b="b"/>
            <a:pathLst>
              <a:path w="273050" h="320039">
                <a:moveTo>
                  <a:pt x="136397" y="0"/>
                </a:moveTo>
                <a:lnTo>
                  <a:pt x="136397" y="64007"/>
                </a:lnTo>
                <a:lnTo>
                  <a:pt x="0" y="64007"/>
                </a:lnTo>
                <a:lnTo>
                  <a:pt x="0" y="256031"/>
                </a:lnTo>
                <a:lnTo>
                  <a:pt x="136397" y="256031"/>
                </a:lnTo>
                <a:lnTo>
                  <a:pt x="136397" y="320039"/>
                </a:lnTo>
                <a:lnTo>
                  <a:pt x="272795" y="160019"/>
                </a:lnTo>
                <a:lnTo>
                  <a:pt x="136397" y="0"/>
                </a:lnTo>
                <a:close/>
              </a:path>
            </a:pathLst>
          </a:custGeom>
          <a:solidFill>
            <a:srgbClr val="B1C1D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1521" name="object 17"/>
          <p:cNvSpPr>
            <a:spLocks noChangeArrowheads="1"/>
          </p:cNvSpPr>
          <p:nvPr/>
        </p:nvSpPr>
        <p:spPr bwMode="auto">
          <a:xfrm>
            <a:off x="8248262" y="1664529"/>
            <a:ext cx="1524344" cy="957409"/>
          </a:xfrm>
          <a:prstGeom prst="rect">
            <a:avLst/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18" name="object 18"/>
          <p:cNvSpPr txBox="1"/>
          <p:nvPr/>
        </p:nvSpPr>
        <p:spPr>
          <a:xfrm>
            <a:off x="8451275" y="1981331"/>
            <a:ext cx="1120069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sz="1800" spc="-160" dirty="0" err="1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800" spc="33" dirty="0" err="1" smtClean="0">
                <a:solidFill>
                  <a:srgbClr val="FFFFFF"/>
                </a:solidFill>
                <a:latin typeface="Calibri"/>
                <a:cs typeface="Calibri"/>
              </a:rPr>
              <a:t>á</a:t>
            </a:r>
            <a:r>
              <a:rPr lang="hu-HU" sz="1800" spc="33" dirty="0" smtClean="0">
                <a:solidFill>
                  <a:srgbClr val="FFFFFF"/>
                </a:solidFill>
                <a:latin typeface="Calibri"/>
                <a:cs typeface="Calibri"/>
              </a:rPr>
              <a:t>m</a:t>
            </a:r>
            <a:r>
              <a:rPr sz="1800" spc="33" dirty="0" err="1" smtClean="0">
                <a:solidFill>
                  <a:srgbClr val="FFFFFF"/>
                </a:solidFill>
                <a:latin typeface="Calibri"/>
                <a:cs typeface="Calibri"/>
              </a:rPr>
              <a:t>o</a:t>
            </a:r>
            <a:r>
              <a:rPr sz="1800" spc="-6" dirty="0" err="1" smtClean="0">
                <a:solidFill>
                  <a:srgbClr val="FFFFFF"/>
                </a:solidFill>
                <a:latin typeface="Calibri"/>
                <a:cs typeface="Calibri"/>
              </a:rPr>
              <a:t>g</a:t>
            </a:r>
            <a:r>
              <a:rPr sz="1800" spc="-17" dirty="0" err="1" smtClean="0">
                <a:solidFill>
                  <a:srgbClr val="FFFFFF"/>
                </a:solidFill>
                <a:latin typeface="Calibri"/>
                <a:cs typeface="Calibri"/>
              </a:rPr>
              <a:t>a</a:t>
            </a:r>
            <a:r>
              <a:rPr sz="1800" spc="-33" dirty="0" err="1" smtClean="0">
                <a:solidFill>
                  <a:srgbClr val="FFFFFF"/>
                </a:solidFill>
                <a:latin typeface="Calibri"/>
                <a:cs typeface="Calibri"/>
              </a:rPr>
              <a:t>t</a:t>
            </a:r>
            <a:r>
              <a:rPr sz="1800" dirty="0" err="1" smtClean="0">
                <a:solidFill>
                  <a:srgbClr val="FFFFFF"/>
                </a:solidFill>
                <a:latin typeface="Calibri"/>
                <a:cs typeface="Calibri"/>
              </a:rPr>
              <a:t>ás</a:t>
            </a:r>
            <a:endParaRPr sz="1800" dirty="0">
              <a:latin typeface="Calibri"/>
              <a:cs typeface="Calibri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44528" y="1169195"/>
            <a:ext cx="5257326" cy="33855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P</a:t>
            </a:r>
            <a:r>
              <a:rPr lang="hu-HU" sz="2200" b="1" spc="-33" dirty="0" smtClean="0">
                <a:solidFill>
                  <a:srgbClr val="5D100C"/>
                </a:solidFill>
                <a:latin typeface="Calibri"/>
                <a:cs typeface="Calibri"/>
              </a:rPr>
              <a:t>r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oje</a:t>
            </a:r>
            <a:r>
              <a:rPr lang="hu-HU" sz="2200" b="1" spc="-17" dirty="0" smtClean="0">
                <a:solidFill>
                  <a:srgbClr val="5D100C"/>
                </a:solidFill>
                <a:latin typeface="Calibri"/>
                <a:cs typeface="Calibri"/>
              </a:rPr>
              <a:t>k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t</a:t>
            </a:r>
            <a:r>
              <a:rPr lang="hu-HU" sz="2200" b="1" spc="-39" dirty="0" smtClean="0">
                <a:solidFill>
                  <a:srgbClr val="5D100C"/>
                </a:solidFill>
                <a:latin typeface="Calibri"/>
                <a:cs typeface="Calibri"/>
              </a:rPr>
              <a:t>f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á</a:t>
            </a:r>
            <a:r>
              <a:rPr lang="hu-HU" sz="2200" b="1" spc="-11" dirty="0" smtClean="0">
                <a:solidFill>
                  <a:srgbClr val="5D100C"/>
                </a:solidFill>
                <a:latin typeface="Calibri"/>
                <a:cs typeface="Calibri"/>
              </a:rPr>
              <a:t>z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isok a</a:t>
            </a:r>
            <a:r>
              <a:rPr lang="hu-HU" sz="2200" b="1" spc="-17" dirty="0" smtClean="0">
                <a:solidFill>
                  <a:srgbClr val="5D100C"/>
                </a:solidFill>
                <a:latin typeface="Calibri"/>
                <a:cs typeface="Calibri"/>
              </a:rPr>
              <a:t> 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P</a:t>
            </a:r>
            <a:r>
              <a:rPr lang="hu-HU" sz="2200" b="1" spc="11" dirty="0" smtClean="0">
                <a:solidFill>
                  <a:srgbClr val="5D100C"/>
                </a:solidFill>
                <a:latin typeface="Calibri"/>
                <a:cs typeface="Calibri"/>
              </a:rPr>
              <a:t>M</a:t>
            </a:r>
            <a:r>
              <a:rPr lang="hu-HU" sz="2200" b="1" spc="-6" dirty="0" smtClean="0">
                <a:solidFill>
                  <a:srgbClr val="5D100C"/>
                </a:solidFill>
                <a:latin typeface="Calibri"/>
                <a:cs typeface="Calibri"/>
              </a:rPr>
              <a:t>-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IT</a:t>
            </a:r>
            <a:r>
              <a:rPr lang="hu-HU" sz="2200" b="1" spc="-17" dirty="0" smtClean="0">
                <a:solidFill>
                  <a:srgbClr val="5D100C"/>
                </a:solidFill>
                <a:latin typeface="Calibri"/>
                <a:cs typeface="Calibri"/>
              </a:rPr>
              <a:t> </a:t>
            </a:r>
            <a:r>
              <a:rPr lang="hu-HU" sz="2200" b="1" spc="-39" dirty="0" smtClean="0">
                <a:solidFill>
                  <a:srgbClr val="5D100C"/>
                </a:solidFill>
                <a:latin typeface="Calibri"/>
                <a:cs typeface="Calibri"/>
              </a:rPr>
              <a:t>f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ejles</a:t>
            </a:r>
            <a:r>
              <a:rPr lang="hu-HU" sz="2200" b="1" spc="-11" dirty="0" smtClean="0">
                <a:solidFill>
                  <a:srgbClr val="5D100C"/>
                </a:solidFill>
                <a:latin typeface="Calibri"/>
                <a:cs typeface="Calibri"/>
              </a:rPr>
              <a:t>z</a:t>
            </a:r>
            <a:r>
              <a:rPr lang="hu-HU" sz="2200" b="1" spc="-28" dirty="0" smtClean="0">
                <a:solidFill>
                  <a:srgbClr val="5D100C"/>
                </a:solidFill>
                <a:latin typeface="Calibri"/>
                <a:cs typeface="Calibri"/>
              </a:rPr>
              <a:t>t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ési p</a:t>
            </a:r>
            <a:r>
              <a:rPr lang="hu-HU" sz="2200" b="1" spc="-33" dirty="0" smtClean="0">
                <a:solidFill>
                  <a:srgbClr val="5D100C"/>
                </a:solidFill>
                <a:latin typeface="Calibri"/>
                <a:cs typeface="Calibri"/>
              </a:rPr>
              <a:t>r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oje</a:t>
            </a:r>
            <a:r>
              <a:rPr lang="hu-HU" sz="2200" b="1" spc="-17" dirty="0" smtClean="0">
                <a:solidFill>
                  <a:srgbClr val="5D100C"/>
                </a:solidFill>
                <a:latin typeface="Calibri"/>
                <a:cs typeface="Calibri"/>
              </a:rPr>
              <a:t>k</a:t>
            </a:r>
            <a:r>
              <a:rPr lang="hu-HU" sz="2200" b="1" spc="-33" dirty="0" smtClean="0">
                <a:solidFill>
                  <a:srgbClr val="5D100C"/>
                </a:solidFill>
                <a:latin typeface="Calibri"/>
                <a:cs typeface="Calibri"/>
              </a:rPr>
              <a:t>tben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:</a:t>
            </a:r>
            <a:endParaRPr lang="hu-HU" sz="2200" dirty="0">
              <a:latin typeface="Calibri"/>
              <a:cs typeface="Calibri"/>
            </a:endParaRPr>
          </a:p>
        </p:txBody>
      </p:sp>
      <p:sp>
        <p:nvSpPr>
          <p:cNvPr id="21524" name="object 20"/>
          <p:cNvSpPr>
            <a:spLocks noChangeArrowheads="1"/>
          </p:cNvSpPr>
          <p:nvPr/>
        </p:nvSpPr>
        <p:spPr bwMode="auto">
          <a:xfrm>
            <a:off x="119007" y="2721706"/>
            <a:ext cx="1905869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5" name="object 21"/>
          <p:cNvSpPr>
            <a:spLocks noChangeArrowheads="1"/>
          </p:cNvSpPr>
          <p:nvPr/>
        </p:nvSpPr>
        <p:spPr bwMode="auto">
          <a:xfrm>
            <a:off x="2182386" y="2697202"/>
            <a:ext cx="1905868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6" name="object 22"/>
          <p:cNvSpPr>
            <a:spLocks noChangeArrowheads="1"/>
          </p:cNvSpPr>
          <p:nvPr/>
        </p:nvSpPr>
        <p:spPr bwMode="auto">
          <a:xfrm>
            <a:off x="4088254" y="2721706"/>
            <a:ext cx="1904118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7" name="object 23"/>
          <p:cNvSpPr>
            <a:spLocks noChangeArrowheads="1"/>
          </p:cNvSpPr>
          <p:nvPr/>
        </p:nvSpPr>
        <p:spPr bwMode="auto">
          <a:xfrm>
            <a:off x="6023874" y="2721706"/>
            <a:ext cx="1904118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8" name="object 24"/>
          <p:cNvSpPr>
            <a:spLocks noChangeArrowheads="1"/>
          </p:cNvSpPr>
          <p:nvPr/>
        </p:nvSpPr>
        <p:spPr bwMode="auto">
          <a:xfrm>
            <a:off x="8055750" y="2693701"/>
            <a:ext cx="1905868" cy="127071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21529" name="object 25"/>
          <p:cNvSpPr>
            <a:spLocks noChangeArrowheads="1"/>
          </p:cNvSpPr>
          <p:nvPr/>
        </p:nvSpPr>
        <p:spPr bwMode="auto">
          <a:xfrm>
            <a:off x="2857927" y="4580515"/>
            <a:ext cx="4118006" cy="868145"/>
          </a:xfrm>
          <a:prstGeom prst="rect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hu-HU" altLang="hu-HU" dirty="0" smtClean="0">
                <a:solidFill>
                  <a:schemeClr val="bg1"/>
                </a:solidFill>
              </a:rPr>
              <a:t>Házépítés projekt</a:t>
            </a:r>
            <a:endParaRPr lang="hu-HU" altLang="hu-HU" dirty="0">
              <a:solidFill>
                <a:schemeClr val="bg1"/>
              </a:solidFill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234516" y="4131675"/>
            <a:ext cx="7821234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000">
              <a:defRPr/>
            </a:pP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Bi</a:t>
            </a:r>
            <a:r>
              <a:rPr lang="hu-HU" sz="2200" b="1" spc="-50" dirty="0" smtClean="0">
                <a:solidFill>
                  <a:srgbClr val="5D100C"/>
                </a:solidFill>
                <a:latin typeface="Calibri"/>
                <a:cs typeface="Calibri"/>
              </a:rPr>
              <a:t>z</a:t>
            </a:r>
            <a:r>
              <a:rPr lang="hu-HU" sz="2200" b="1" spc="11" dirty="0" smtClean="0">
                <a:solidFill>
                  <a:srgbClr val="5D100C"/>
                </a:solidFill>
                <a:latin typeface="Calibri"/>
                <a:cs typeface="Calibri"/>
              </a:rPr>
              <a:t>onyos 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p</a:t>
            </a:r>
            <a:r>
              <a:rPr lang="hu-HU" sz="2200" b="1" spc="-33" dirty="0" smtClean="0">
                <a:solidFill>
                  <a:srgbClr val="5D100C"/>
                </a:solidFill>
                <a:latin typeface="Calibri"/>
                <a:cs typeface="Calibri"/>
              </a:rPr>
              <a:t>r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oje</a:t>
            </a:r>
            <a:r>
              <a:rPr lang="hu-HU" sz="2200" b="1" spc="-17" dirty="0" smtClean="0">
                <a:solidFill>
                  <a:srgbClr val="5D100C"/>
                </a:solidFill>
                <a:latin typeface="Calibri"/>
                <a:cs typeface="Calibri"/>
              </a:rPr>
              <a:t>k</a:t>
            </a:r>
            <a:r>
              <a:rPr lang="hu-HU" sz="2200" b="1" spc="-28" dirty="0" smtClean="0">
                <a:solidFill>
                  <a:srgbClr val="5D100C"/>
                </a:solidFill>
                <a:latin typeface="Calibri"/>
                <a:cs typeface="Calibri"/>
              </a:rPr>
              <a:t>t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ek </a:t>
            </a:r>
            <a:r>
              <a:rPr lang="hu-HU" sz="2200" b="1" spc="-220" dirty="0" smtClean="0">
                <a:solidFill>
                  <a:srgbClr val="5D100C"/>
                </a:solidFill>
                <a:latin typeface="Calibri"/>
                <a:cs typeface="Calibri"/>
              </a:rPr>
              <a:t>egy </a:t>
            </a:r>
            <a:r>
              <a:rPr lang="hu-HU" sz="2200" b="1" spc="-39" dirty="0" smtClean="0">
                <a:solidFill>
                  <a:srgbClr val="5D100C"/>
                </a:solidFill>
                <a:latin typeface="Calibri"/>
                <a:cs typeface="Calibri"/>
              </a:rPr>
              <a:t>f</a:t>
            </a:r>
            <a:r>
              <a:rPr lang="hu-HU" sz="2200" b="1" spc="-11" dirty="0" smtClean="0">
                <a:solidFill>
                  <a:srgbClr val="5D100C"/>
                </a:solidFill>
                <a:latin typeface="Calibri"/>
                <a:cs typeface="Calibri"/>
              </a:rPr>
              <a:t>á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z</a:t>
            </a:r>
            <a:r>
              <a:rPr lang="hu-HU" sz="2200" b="1" spc="-11" dirty="0" smtClean="0">
                <a:solidFill>
                  <a:srgbClr val="5D100C"/>
                </a:solidFill>
                <a:latin typeface="Calibri"/>
                <a:cs typeface="Calibri"/>
              </a:rPr>
              <a:t>i</a:t>
            </a:r>
            <a:r>
              <a:rPr lang="hu-HU" sz="2200" b="1" spc="-28" dirty="0" smtClean="0">
                <a:solidFill>
                  <a:srgbClr val="5D100C"/>
                </a:solidFill>
                <a:latin typeface="Calibri"/>
                <a:cs typeface="Calibri"/>
              </a:rPr>
              <a:t>sban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 is</a:t>
            </a:r>
            <a:r>
              <a:rPr lang="hu-HU" sz="2200" b="1" spc="-17" dirty="0" smtClean="0">
                <a:solidFill>
                  <a:srgbClr val="5D100C"/>
                </a:solidFill>
                <a:latin typeface="Calibri"/>
                <a:cs typeface="Calibri"/>
              </a:rPr>
              <a:t> </a:t>
            </a:r>
            <a:r>
              <a:rPr lang="hu-HU" sz="2200" b="1" spc="-28" dirty="0" smtClean="0">
                <a:solidFill>
                  <a:srgbClr val="5D100C"/>
                </a:solidFill>
                <a:latin typeface="Calibri"/>
                <a:cs typeface="Calibri"/>
              </a:rPr>
              <a:t>v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ég</a:t>
            </a:r>
            <a:r>
              <a:rPr lang="hu-HU" sz="2200" b="1" spc="-39" dirty="0" smtClean="0">
                <a:solidFill>
                  <a:srgbClr val="5D100C"/>
                </a:solidFill>
                <a:latin typeface="Calibri"/>
                <a:cs typeface="Calibri"/>
              </a:rPr>
              <a:t>r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ehajth</a:t>
            </a:r>
            <a:r>
              <a:rPr lang="hu-HU" sz="2200" b="1" spc="-39" dirty="0" smtClean="0">
                <a:solidFill>
                  <a:srgbClr val="5D100C"/>
                </a:solidFill>
                <a:latin typeface="Calibri"/>
                <a:cs typeface="Calibri"/>
              </a:rPr>
              <a:t>a</a:t>
            </a:r>
            <a:r>
              <a:rPr lang="hu-HU" sz="2200" b="1" spc="-28" dirty="0" smtClean="0">
                <a:solidFill>
                  <a:srgbClr val="5D100C"/>
                </a:solidFill>
                <a:latin typeface="Calibri"/>
                <a:cs typeface="Calibri"/>
              </a:rPr>
              <a:t>t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ó</a:t>
            </a:r>
            <a:r>
              <a:rPr lang="hu-HU" sz="2200" b="1" spc="-11" dirty="0" smtClean="0">
                <a:solidFill>
                  <a:srgbClr val="5D100C"/>
                </a:solidFill>
                <a:latin typeface="Calibri"/>
                <a:cs typeface="Calibri"/>
              </a:rPr>
              <a:t>a</a:t>
            </a:r>
            <a:r>
              <a:rPr lang="hu-HU" sz="2200" b="1" dirty="0" smtClean="0">
                <a:solidFill>
                  <a:srgbClr val="5D100C"/>
                </a:solidFill>
                <a:latin typeface="Calibri"/>
                <a:cs typeface="Calibri"/>
              </a:rPr>
              <a:t>k.</a:t>
            </a:r>
            <a:endParaRPr lang="hu-HU" sz="2200" dirty="0" smtClean="0">
              <a:latin typeface="Calibri"/>
              <a:cs typeface="Calibri"/>
            </a:endParaRPr>
          </a:p>
        </p:txBody>
      </p:sp>
      <p:sp>
        <p:nvSpPr>
          <p:cNvPr id="21531" name="object 27"/>
          <p:cNvSpPr>
            <a:spLocks noChangeArrowheads="1"/>
          </p:cNvSpPr>
          <p:nvPr/>
        </p:nvSpPr>
        <p:spPr bwMode="auto">
          <a:xfrm>
            <a:off x="3904493" y="5245627"/>
            <a:ext cx="2509656" cy="1673279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</p:spTree>
    <p:extLst>
      <p:ext uri="{BB962C8B-B14F-4D97-AF65-F5344CB8AC3E}">
        <p14:creationId xmlns:p14="http://schemas.microsoft.com/office/powerpoint/2010/main" val="3724998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ject life </a:t>
            </a:r>
            <a:r>
              <a:rPr lang="hu-HU" dirty="0" err="1" smtClean="0"/>
              <a:t>Cycle</a:t>
            </a:r>
            <a:endParaRPr lang="hu-HU" dirty="0"/>
          </a:p>
        </p:txBody>
      </p:sp>
      <p:sp>
        <p:nvSpPr>
          <p:cNvPr id="23" name="TextBox 22"/>
          <p:cNvSpPr txBox="1"/>
          <p:nvPr/>
        </p:nvSpPr>
        <p:spPr>
          <a:xfrm>
            <a:off x="612775" y="1192258"/>
            <a:ext cx="8551103" cy="3396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Life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Cycle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 = </a:t>
            </a:r>
            <a:r>
              <a:rPr lang="hu-HU" sz="2400" spc="-22" dirty="0" err="1" smtClean="0">
                <a:solidFill>
                  <a:srgbClr val="045F78"/>
                </a:solidFill>
                <a:latin typeface="Arial"/>
                <a:cs typeface="Arial"/>
              </a:rPr>
              <a:t>Sequence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 of Project </a:t>
            </a:r>
            <a:r>
              <a:rPr lang="hu-HU" sz="2400" spc="-22" dirty="0" err="1" smtClean="0">
                <a:solidFill>
                  <a:srgbClr val="045F78"/>
                </a:solidFill>
                <a:latin typeface="Arial"/>
                <a:cs typeface="Arial"/>
              </a:rPr>
              <a:t>Phases</a:t>
            </a: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>
                <a:solidFill>
                  <a:srgbClr val="045F78"/>
                </a:solidFill>
                <a:latin typeface="Arial"/>
                <a:cs typeface="Arial"/>
              </a:rPr>
              <a:t>Project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Phases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: </a:t>
            </a:r>
            <a:r>
              <a:rPr lang="hu-HU" sz="2400" spc="-22" dirty="0" err="1" smtClean="0">
                <a:solidFill>
                  <a:srgbClr val="045F78"/>
                </a:solidFill>
                <a:latin typeface="Arial"/>
                <a:cs typeface="Arial"/>
              </a:rPr>
              <a:t>deliverables</a:t>
            </a: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(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deliverables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decision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at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the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end (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review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phase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exit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phase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gate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kill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point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)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e.g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.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Specification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</a:t>
            </a:r>
            <a:r>
              <a:rPr lang="hu-HU" altLang="hu-HU" sz="2400" spc="-22" dirty="0" err="1">
                <a:solidFill>
                  <a:srgbClr val="045F78"/>
                </a:solidFill>
                <a:latin typeface="Arial"/>
                <a:cs typeface="Arial"/>
              </a:rPr>
              <a:t>Implementation</a:t>
            </a:r>
            <a:r>
              <a:rPr lang="hu-HU" altLang="hu-HU" sz="2400" spc="-22" dirty="0">
                <a:solidFill>
                  <a:srgbClr val="045F78"/>
                </a:solidFill>
                <a:latin typeface="Arial"/>
                <a:cs typeface="Arial"/>
              </a:rPr>
              <a:t>, Testing, etc</a:t>
            </a:r>
            <a:r>
              <a:rPr lang="hu-HU" alt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.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)</a:t>
            </a:r>
          </a:p>
          <a:p>
            <a:pPr marL="14000">
              <a:defRPr/>
            </a:pP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>
                <a:solidFill>
                  <a:srgbClr val="045F78"/>
                </a:solidFill>
                <a:latin typeface="Arial"/>
                <a:cs typeface="Arial"/>
              </a:rPr>
              <a:t>Process </a:t>
            </a:r>
            <a:r>
              <a:rPr lang="hu-HU" sz="2400" b="1" spc="-22" dirty="0" err="1">
                <a:solidFill>
                  <a:srgbClr val="045F78"/>
                </a:solidFill>
                <a:latin typeface="Arial"/>
                <a:cs typeface="Arial"/>
              </a:rPr>
              <a:t>Groups</a:t>
            </a:r>
            <a:r>
              <a:rPr lang="hu-HU" sz="2400" b="1" spc="-22" dirty="0">
                <a:solidFill>
                  <a:srgbClr val="045F78"/>
                </a:solidFill>
                <a:latin typeface="Arial"/>
                <a:cs typeface="Arial"/>
              </a:rPr>
              <a:t>: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spc="-22" dirty="0" err="1" smtClean="0">
                <a:solidFill>
                  <a:srgbClr val="045F78"/>
                </a:solidFill>
                <a:latin typeface="Arial"/>
                <a:cs typeface="Arial"/>
              </a:rPr>
              <a:t>managing</a:t>
            </a:r>
            <a:r>
              <a:rPr lang="hu-HU" sz="2400" spc="-22" dirty="0" smtClean="0">
                <a:solidFill>
                  <a:srgbClr val="045F78"/>
                </a:solidFill>
                <a:latin typeface="Arial"/>
                <a:cs typeface="Arial"/>
              </a:rPr>
              <a:t> project</a:t>
            </a:r>
            <a:endParaRPr lang="en-US" sz="2400" dirty="0">
              <a:latin typeface="Arial"/>
              <a:cs typeface="Arial"/>
            </a:endParaRPr>
          </a:p>
        </p:txBody>
      </p:sp>
      <p:pic>
        <p:nvPicPr>
          <p:cNvPr id="648194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5409" y="4530755"/>
            <a:ext cx="4941066" cy="27168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/>
          <p:cNvSpPr/>
          <p:nvPr/>
        </p:nvSpPr>
        <p:spPr bwMode="gray">
          <a:xfrm>
            <a:off x="8419381" y="6840747"/>
            <a:ext cx="1267094" cy="40684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416769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keholder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612775" y="1219861"/>
            <a:ext cx="8551103" cy="1231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000">
              <a:defRPr/>
            </a:pPr>
            <a:r>
              <a:rPr lang="hu-HU" sz="2400" spc="-22" dirty="0">
                <a:solidFill>
                  <a:srgbClr val="045F78"/>
                </a:solidFill>
                <a:latin typeface="Arial"/>
                <a:cs typeface="Arial"/>
              </a:rPr>
              <a:t>W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spc="72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ar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61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act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b="1" spc="-44" dirty="0">
                <a:solidFill>
                  <a:srgbClr val="045F78"/>
                </a:solidFill>
                <a:latin typeface="Arial"/>
                <a:cs typeface="Arial"/>
              </a:rPr>
              <a:t>v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b="1" spc="6" dirty="0">
                <a:solidFill>
                  <a:srgbClr val="045F78"/>
                </a:solidFill>
                <a:latin typeface="Arial"/>
                <a:cs typeface="Arial"/>
              </a:rPr>
              <a:t>l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y</a:t>
            </a:r>
            <a:r>
              <a:rPr lang="en-US" sz="2400" b="1" spc="9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n</a:t>
            </a:r>
            <a:r>
              <a:rPr lang="en-US" sz="2400" b="1" spc="-39" dirty="0">
                <a:solidFill>
                  <a:srgbClr val="045F78"/>
                </a:solidFill>
                <a:latin typeface="Arial"/>
                <a:cs typeface="Arial"/>
              </a:rPr>
              <a:t>v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b="1" spc="6" dirty="0">
                <a:solidFill>
                  <a:srgbClr val="045F78"/>
                </a:solidFill>
                <a:latin typeface="Arial"/>
                <a:cs typeface="Arial"/>
              </a:rPr>
              <a:t>l</a:t>
            </a:r>
            <a:r>
              <a:rPr lang="en-US" sz="2400" b="1" spc="-28" dirty="0">
                <a:solidFill>
                  <a:srgbClr val="045F78"/>
                </a:solidFill>
                <a:latin typeface="Arial"/>
                <a:cs typeface="Arial"/>
              </a:rPr>
              <a:t>v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d</a:t>
            </a:r>
            <a:r>
              <a:rPr lang="en-US" sz="2400" b="1" spc="126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in</a:t>
            </a:r>
            <a:r>
              <a:rPr lang="en-US" sz="2400" spc="4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t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55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projec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t</a:t>
            </a:r>
            <a:r>
              <a:rPr lang="en-US" sz="2400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126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i="1" spc="-6" dirty="0">
                <a:solidFill>
                  <a:srgbClr val="045F78"/>
                </a:solidFill>
                <a:latin typeface="Arial"/>
                <a:cs typeface="Arial"/>
              </a:rPr>
              <a:t>an</a:t>
            </a:r>
            <a:r>
              <a:rPr lang="en-US" sz="2400" b="1" i="1" spc="6" dirty="0">
                <a:solidFill>
                  <a:srgbClr val="045F78"/>
                </a:solidFill>
                <a:latin typeface="Arial"/>
                <a:cs typeface="Arial"/>
              </a:rPr>
              <a:t>d</a:t>
            </a:r>
            <a:r>
              <a:rPr lang="en-US" sz="2400" b="1" i="1" spc="-6" dirty="0">
                <a:solidFill>
                  <a:srgbClr val="045F78"/>
                </a:solidFill>
                <a:latin typeface="Arial"/>
                <a:cs typeface="Arial"/>
              </a:rPr>
              <a:t>/</a:t>
            </a:r>
            <a:r>
              <a:rPr lang="en-US" sz="2400" b="1" i="1" dirty="0">
                <a:solidFill>
                  <a:srgbClr val="045F78"/>
                </a:solidFill>
                <a:latin typeface="Arial"/>
                <a:cs typeface="Arial"/>
              </a:rPr>
              <a:t>or</a:t>
            </a:r>
            <a:endParaRPr lang="en-US" sz="2400" dirty="0">
              <a:latin typeface="Arial"/>
              <a:cs typeface="Arial"/>
            </a:endParaRPr>
          </a:p>
          <a:p>
            <a:pPr marL="14000">
              <a:spcBef>
                <a:spcPts val="446"/>
              </a:spcBef>
              <a:defRPr/>
            </a:pPr>
            <a:r>
              <a:rPr lang="en-US" sz="2400" b="1" spc="28" dirty="0">
                <a:solidFill>
                  <a:srgbClr val="045F78"/>
                </a:solidFill>
                <a:latin typeface="Arial"/>
                <a:cs typeface="Arial"/>
              </a:rPr>
              <a:t>w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h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s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b="1" spc="17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nteres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t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s</a:t>
            </a:r>
            <a:r>
              <a:rPr lang="en-US" sz="2400" b="1" spc="72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ma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y</a:t>
            </a:r>
            <a:r>
              <a:rPr lang="en-US" sz="2400" b="1" spc="4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be</a:t>
            </a:r>
            <a:r>
              <a:rPr lang="en-US" sz="2400" b="1" spc="61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af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f</a:t>
            </a:r>
            <a:r>
              <a:rPr lang="en-US" sz="2400" b="1" spc="-6" dirty="0">
                <a:solidFill>
                  <a:srgbClr val="045F78"/>
                </a:solidFill>
                <a:latin typeface="Arial"/>
                <a:cs typeface="Arial"/>
              </a:rPr>
              <a:t>ecte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d</a:t>
            </a:r>
            <a:r>
              <a:rPr lang="en-US" sz="2400" b="1" spc="55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by</a:t>
            </a:r>
            <a:r>
              <a:rPr lang="en-US" sz="2400" b="1" spc="55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t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72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per</a:t>
            </a:r>
            <a:r>
              <a:rPr lang="en-US" sz="2400" spc="-11" dirty="0">
                <a:solidFill>
                  <a:srgbClr val="045F78"/>
                </a:solidFill>
                <a:latin typeface="Arial"/>
                <a:cs typeface="Arial"/>
              </a:rPr>
              <a:t>f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r</a:t>
            </a:r>
            <a:r>
              <a:rPr lang="en-US" sz="2400" spc="-11" dirty="0">
                <a:solidFill>
                  <a:srgbClr val="045F78"/>
                </a:solidFill>
                <a:latin typeface="Arial"/>
                <a:cs typeface="Arial"/>
              </a:rPr>
              <a:t>m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anc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61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r</a:t>
            </a:r>
            <a:r>
              <a:rPr lang="en-US" sz="2400" spc="50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compl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et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i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n</a:t>
            </a:r>
            <a:r>
              <a:rPr lang="en-US" sz="2400" spc="50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o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f</a:t>
            </a:r>
            <a:r>
              <a:rPr lang="en-US" sz="2400" spc="44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spc="-6" dirty="0">
                <a:solidFill>
                  <a:srgbClr val="045F78"/>
                </a:solidFill>
                <a:latin typeface="Arial"/>
                <a:cs typeface="Arial"/>
              </a:rPr>
              <a:t>th</a:t>
            </a:r>
            <a:r>
              <a:rPr lang="en-US" sz="2400" dirty="0">
                <a:solidFill>
                  <a:srgbClr val="045F78"/>
                </a:solidFill>
                <a:latin typeface="Arial"/>
                <a:cs typeface="Arial"/>
              </a:rPr>
              <a:t>e</a:t>
            </a:r>
            <a:r>
              <a:rPr lang="en-US" sz="2400" spc="88" dirty="0">
                <a:solidFill>
                  <a:srgbClr val="045F78"/>
                </a:solidFill>
                <a:latin typeface="Times New Roman"/>
                <a:cs typeface="Times New Roman"/>
              </a:rPr>
              <a:t> 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projec</a:t>
            </a:r>
            <a:r>
              <a:rPr lang="en-US" sz="2400" b="1" spc="-11" dirty="0">
                <a:solidFill>
                  <a:srgbClr val="045F78"/>
                </a:solidFill>
                <a:latin typeface="Arial"/>
                <a:cs typeface="Arial"/>
              </a:rPr>
              <a:t>t</a:t>
            </a:r>
            <a:r>
              <a:rPr lang="en-US" sz="2400" b="1" dirty="0">
                <a:solidFill>
                  <a:srgbClr val="045F78"/>
                </a:solidFill>
                <a:latin typeface="Arial"/>
                <a:cs typeface="Arial"/>
              </a:rPr>
              <a:t>.</a:t>
            </a:r>
            <a:endParaRPr lang="en-US" sz="2400" dirty="0">
              <a:latin typeface="Arial"/>
              <a:cs typeface="Arial"/>
            </a:endParaRPr>
          </a:p>
        </p:txBody>
      </p:sp>
      <p:pic>
        <p:nvPicPr>
          <p:cNvPr id="648194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48960" y="1839789"/>
            <a:ext cx="3791188" cy="53839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0443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Stakeholsers</a:t>
            </a:r>
            <a:r>
              <a:rPr lang="hu-HU" dirty="0" smtClean="0"/>
              <a:t> – main </a:t>
            </a:r>
            <a:r>
              <a:rPr lang="hu-HU" dirty="0" err="1" smtClean="0"/>
              <a:t>players</a:t>
            </a:r>
            <a:endParaRPr lang="hu-HU" dirty="0"/>
          </a:p>
        </p:txBody>
      </p:sp>
      <p:sp>
        <p:nvSpPr>
          <p:cNvPr id="23" name="TextBox 22"/>
          <p:cNvSpPr txBox="1"/>
          <p:nvPr/>
        </p:nvSpPr>
        <p:spPr>
          <a:xfrm>
            <a:off x="612775" y="1192258"/>
            <a:ext cx="8551103" cy="5612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Customer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Sponsor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manager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Project team</a:t>
            </a: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Steering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Commitee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Vendors</a:t>
            </a:r>
            <a:endParaRPr lang="hu-HU" sz="2400" b="1" spc="-22" dirty="0" smtClean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Other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external</a:t>
            </a:r>
            <a:r>
              <a:rPr lang="hu-HU" sz="2400" b="1" spc="-22" dirty="0" smtClean="0">
                <a:solidFill>
                  <a:srgbClr val="045F78"/>
                </a:solidFill>
                <a:latin typeface="Arial"/>
                <a:cs typeface="Arial"/>
              </a:rPr>
              <a:t> </a:t>
            </a:r>
            <a:r>
              <a:rPr lang="hu-HU" sz="2400" b="1" spc="-22" dirty="0" err="1" smtClean="0">
                <a:solidFill>
                  <a:srgbClr val="045F78"/>
                </a:solidFill>
                <a:latin typeface="Arial"/>
                <a:cs typeface="Arial"/>
              </a:rPr>
              <a:t>members</a:t>
            </a: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b="1" spc="-22" dirty="0">
              <a:solidFill>
                <a:srgbClr val="045F78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lang="hu-HU" sz="2400" spc="-22" dirty="0" smtClean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4" name="Rectangle 3"/>
          <p:cNvSpPr/>
          <p:nvPr/>
        </p:nvSpPr>
        <p:spPr bwMode="gray">
          <a:xfrm>
            <a:off x="8419381" y="6840747"/>
            <a:ext cx="1267094" cy="406848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hu-HU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78030" y="3434080"/>
            <a:ext cx="5241970" cy="3342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57070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90" y="947280"/>
          <a:ext cx="1388" cy="13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35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90" y="947280"/>
                        <a:ext cx="1388" cy="13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390" y="947281"/>
            <a:ext cx="2778" cy="1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7519857"/>
              </p:ext>
            </p:extLst>
          </p:nvPr>
        </p:nvGraphicFramePr>
        <p:xfrm>
          <a:off x="1720447" y="1459601"/>
          <a:ext cx="5503887" cy="3402797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525945"/>
                <a:gridCol w="4977942"/>
              </a:tblGrid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1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Knowledge</a:t>
                      </a:r>
                      <a:r>
                        <a:rPr lang="en-US" sz="2400" baseline="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 areas</a:t>
                      </a:r>
                      <a:endParaRPr lang="en-US" sz="2400" noProof="0" dirty="0" smtClean="0">
                        <a:solidFill>
                          <a:schemeClr val="tx2"/>
                        </a:solidFill>
                        <a:latin typeface="Tele-GroteskNor" pitchFamily="2" charset="0"/>
                      </a:endParaRPr>
                    </a:p>
                  </a:txBody>
                  <a:tcPr marL="80001" marR="80001" marT="40000" marB="40000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2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baseline="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cess groups </a:t>
                      </a:r>
                      <a:endParaRPr lang="en-US" sz="2400" noProof="0" dirty="0" smtClean="0">
                        <a:solidFill>
                          <a:schemeClr val="tx2"/>
                        </a:solidFill>
                        <a:latin typeface="Tele-GroteskNor" pitchFamily="2" charset="0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0395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3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ject phases vs. Process Groups </a:t>
                      </a: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4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Stakeholders</a:t>
                      </a: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5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ject team</a:t>
                      </a: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6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Organization</a:t>
                      </a:r>
                      <a:r>
                        <a:rPr lang="en-US" sz="2400" baseline="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 structures</a:t>
                      </a:r>
                      <a:endParaRPr lang="en-US" sz="2400" noProof="0" dirty="0" smtClean="0">
                        <a:solidFill>
                          <a:schemeClr val="tx2"/>
                        </a:solidFill>
                        <a:latin typeface="Tele-GroteskNor" pitchFamily="2" charset="0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87067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7</a:t>
                      </a:r>
                      <a:endParaRPr lang="en-US" sz="24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4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House build -Example </a:t>
                      </a:r>
                    </a:p>
                  </a:txBody>
                  <a:tcPr marL="80001" marR="80001" marT="40000" marB="40000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424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>
            <a:spLocks noGrp="1"/>
          </p:cNvSpPr>
          <p:nvPr>
            <p:ph type="title"/>
          </p:nvPr>
        </p:nvSpPr>
        <p:spPr/>
        <p:txBody>
          <a:bodyPr tIns="222572" rtlCol="0"/>
          <a:lstStyle/>
          <a:p>
            <a:pPr defTabSz="215900" fontAlgn="auto">
              <a:spcAft>
                <a:spcPts val="0"/>
              </a:spcAft>
              <a:defRPr/>
            </a:pPr>
            <a:r>
              <a:rPr dirty="0"/>
              <a:t>Ide</a:t>
            </a:r>
            <a:r>
              <a:rPr spc="-11" dirty="0"/>
              <a:t>n</a:t>
            </a:r>
            <a:r>
              <a:rPr dirty="0"/>
              <a:t>t</a:t>
            </a:r>
            <a:r>
              <a:rPr spc="6" dirty="0"/>
              <a:t>i</a:t>
            </a:r>
            <a:r>
              <a:rPr dirty="0"/>
              <a:t>fy</a:t>
            </a:r>
            <a:r>
              <a:rPr spc="44" dirty="0">
                <a:latin typeface="Times New Roman"/>
                <a:cs typeface="Times New Roman"/>
              </a:rPr>
              <a:t> </a:t>
            </a:r>
            <a:r>
              <a:rPr spc="-6" dirty="0"/>
              <a:t>stake</a:t>
            </a:r>
            <a:r>
              <a:rPr spc="-11" dirty="0"/>
              <a:t>h</a:t>
            </a:r>
            <a:r>
              <a:rPr dirty="0"/>
              <a:t>old</a:t>
            </a:r>
            <a:r>
              <a:rPr spc="-11" dirty="0"/>
              <a:t>e</a:t>
            </a:r>
            <a:r>
              <a:rPr spc="-6" dirty="0"/>
              <a:t>rs</a:t>
            </a:r>
          </a:p>
        </p:txBody>
      </p:sp>
      <p:sp>
        <p:nvSpPr>
          <p:cNvPr id="47109" name="object 5"/>
          <p:cNvSpPr>
            <a:spLocks/>
          </p:cNvSpPr>
          <p:nvPr/>
        </p:nvSpPr>
        <p:spPr bwMode="auto">
          <a:xfrm>
            <a:off x="3346208" y="6082267"/>
            <a:ext cx="3174697" cy="796382"/>
          </a:xfrm>
          <a:custGeom>
            <a:avLst/>
            <a:gdLst>
              <a:gd name="T0" fmla="*/ 2759900 w 2879090"/>
              <a:gd name="T1" fmla="*/ 0 h 721360"/>
              <a:gd name="T2" fmla="*/ 114595 w 2879090"/>
              <a:gd name="T3" fmla="*/ 128 h 721360"/>
              <a:gd name="T4" fmla="*/ 72999 w 2879090"/>
              <a:gd name="T5" fmla="*/ 9665 h 721360"/>
              <a:gd name="T6" fmla="*/ 38312 w 2879090"/>
              <a:gd name="T7" fmla="*/ 32325 h 721360"/>
              <a:gd name="T8" fmla="*/ 13341 w 2879090"/>
              <a:gd name="T9" fmla="*/ 65301 h 721360"/>
              <a:gd name="T10" fmla="*/ 885 w 2879090"/>
              <a:gd name="T11" fmla="*/ 105784 h 721360"/>
              <a:gd name="T12" fmla="*/ 0 w 2879090"/>
              <a:gd name="T13" fmla="*/ 120464 h 721360"/>
              <a:gd name="T14" fmla="*/ 128 w 2879090"/>
              <a:gd name="T15" fmla="*/ 607919 h 721360"/>
              <a:gd name="T16" fmla="*/ 9644 w 2879090"/>
              <a:gd name="T17" fmla="*/ 649630 h 721360"/>
              <a:gd name="T18" fmla="*/ 32256 w 2879090"/>
              <a:gd name="T19" fmla="*/ 684389 h 721360"/>
              <a:gd name="T20" fmla="*/ 65161 w 2879090"/>
              <a:gd name="T21" fmla="*/ 709400 h 721360"/>
              <a:gd name="T22" fmla="*/ 105558 w 2879090"/>
              <a:gd name="T23" fmla="*/ 721868 h 721360"/>
              <a:gd name="T24" fmla="*/ 120206 w 2879090"/>
              <a:gd name="T25" fmla="*/ 722755 h 721360"/>
              <a:gd name="T26" fmla="*/ 2765510 w 2879090"/>
              <a:gd name="T27" fmla="*/ 722626 h 721360"/>
              <a:gd name="T28" fmla="*/ 2807106 w 2879090"/>
              <a:gd name="T29" fmla="*/ 713101 h 721360"/>
              <a:gd name="T30" fmla="*/ 2841792 w 2879090"/>
              <a:gd name="T31" fmla="*/ 690456 h 721360"/>
              <a:gd name="T32" fmla="*/ 2866764 w 2879090"/>
              <a:gd name="T33" fmla="*/ 657485 h 721360"/>
              <a:gd name="T34" fmla="*/ 2879220 w 2879090"/>
              <a:gd name="T35" fmla="*/ 616983 h 721360"/>
              <a:gd name="T36" fmla="*/ 2880105 w 2879090"/>
              <a:gd name="T37" fmla="*/ 602292 h 721360"/>
              <a:gd name="T38" fmla="*/ 2879977 w 2879090"/>
              <a:gd name="T39" fmla="*/ 114841 h 721360"/>
              <a:gd name="T40" fmla="*/ 2870461 w 2879090"/>
              <a:gd name="T41" fmla="*/ 73154 h 721360"/>
              <a:gd name="T42" fmla="*/ 2847849 w 2879090"/>
              <a:gd name="T43" fmla="*/ 38395 h 721360"/>
              <a:gd name="T44" fmla="*/ 2814944 w 2879090"/>
              <a:gd name="T45" fmla="*/ 13369 h 721360"/>
              <a:gd name="T46" fmla="*/ 2774547 w 2879090"/>
              <a:gd name="T47" fmla="*/ 887 h 721360"/>
              <a:gd name="T48" fmla="*/ 2759900 w 2879090"/>
              <a:gd name="T49" fmla="*/ 0 h 721360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0" t="0" r="r" b="b"/>
            <a:pathLst>
              <a:path w="2879090" h="721360">
                <a:moveTo>
                  <a:pt x="2758683" y="0"/>
                </a:moveTo>
                <a:lnTo>
                  <a:pt x="114545" y="128"/>
                </a:lnTo>
                <a:lnTo>
                  <a:pt x="72967" y="9639"/>
                </a:lnTo>
                <a:lnTo>
                  <a:pt x="38296" y="32239"/>
                </a:lnTo>
                <a:lnTo>
                  <a:pt x="13335" y="65129"/>
                </a:lnTo>
                <a:lnTo>
                  <a:pt x="885" y="105506"/>
                </a:lnTo>
                <a:lnTo>
                  <a:pt x="0" y="120146"/>
                </a:lnTo>
                <a:lnTo>
                  <a:pt x="128" y="606318"/>
                </a:lnTo>
                <a:lnTo>
                  <a:pt x="9640" y="647919"/>
                </a:lnTo>
                <a:lnTo>
                  <a:pt x="32242" y="682586"/>
                </a:lnTo>
                <a:lnTo>
                  <a:pt x="65133" y="707531"/>
                </a:lnTo>
                <a:lnTo>
                  <a:pt x="105512" y="719967"/>
                </a:lnTo>
                <a:lnTo>
                  <a:pt x="120152" y="720851"/>
                </a:lnTo>
                <a:lnTo>
                  <a:pt x="2764290" y="720723"/>
                </a:lnTo>
                <a:lnTo>
                  <a:pt x="2805868" y="711222"/>
                </a:lnTo>
                <a:lnTo>
                  <a:pt x="2840539" y="688637"/>
                </a:lnTo>
                <a:lnTo>
                  <a:pt x="2865500" y="655753"/>
                </a:lnTo>
                <a:lnTo>
                  <a:pt x="2877950" y="615358"/>
                </a:lnTo>
                <a:lnTo>
                  <a:pt x="2878835" y="600705"/>
                </a:lnTo>
                <a:lnTo>
                  <a:pt x="2878707" y="114539"/>
                </a:lnTo>
                <a:lnTo>
                  <a:pt x="2869195" y="72962"/>
                </a:lnTo>
                <a:lnTo>
                  <a:pt x="2846593" y="38293"/>
                </a:lnTo>
                <a:lnTo>
                  <a:pt x="2813702" y="13333"/>
                </a:lnTo>
                <a:lnTo>
                  <a:pt x="2773323" y="885"/>
                </a:lnTo>
                <a:lnTo>
                  <a:pt x="2758683" y="0"/>
                </a:lnTo>
                <a:close/>
              </a:path>
            </a:pathLst>
          </a:custGeom>
          <a:solidFill>
            <a:srgbClr val="5D10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0" name="object 6"/>
          <p:cNvSpPr>
            <a:spLocks/>
          </p:cNvSpPr>
          <p:nvPr/>
        </p:nvSpPr>
        <p:spPr bwMode="auto">
          <a:xfrm>
            <a:off x="3430213" y="5443409"/>
            <a:ext cx="766548" cy="805134"/>
          </a:xfrm>
          <a:custGeom>
            <a:avLst/>
            <a:gdLst>
              <a:gd name="T0" fmla="*/ 460702 w 694689"/>
              <a:gd name="T1" fmla="*/ 249751 h 730885"/>
              <a:gd name="T2" fmla="*/ 168313 w 694689"/>
              <a:gd name="T3" fmla="*/ 249751 h 730885"/>
              <a:gd name="T4" fmla="*/ 495810 w 694689"/>
              <a:gd name="T5" fmla="*/ 729226 h 730885"/>
              <a:gd name="T6" fmla="*/ 695697 w 694689"/>
              <a:gd name="T7" fmla="*/ 593576 h 730885"/>
              <a:gd name="T8" fmla="*/ 460702 w 694689"/>
              <a:gd name="T9" fmla="*/ 249751 h 730885"/>
              <a:gd name="T10" fmla="*/ 536423 w 694689"/>
              <a:gd name="T11" fmla="*/ 0 h 730885"/>
              <a:gd name="T12" fmla="*/ 189443 w 694689"/>
              <a:gd name="T13" fmla="*/ 66690 h 730885"/>
              <a:gd name="T14" fmla="*/ 0 w 694689"/>
              <a:gd name="T15" fmla="*/ 363982 h 730885"/>
              <a:gd name="T16" fmla="*/ 168313 w 694689"/>
              <a:gd name="T17" fmla="*/ 249751 h 730885"/>
              <a:gd name="T18" fmla="*/ 460702 w 694689"/>
              <a:gd name="T19" fmla="*/ 249751 h 730885"/>
              <a:gd name="T20" fmla="*/ 368078 w 694689"/>
              <a:gd name="T21" fmla="*/ 114233 h 730885"/>
              <a:gd name="T22" fmla="*/ 536423 w 694689"/>
              <a:gd name="T23" fmla="*/ 0 h 730885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94689" h="730885">
                <a:moveTo>
                  <a:pt x="459860" y="250185"/>
                </a:moveTo>
                <a:lnTo>
                  <a:pt x="168005" y="250185"/>
                </a:lnTo>
                <a:lnTo>
                  <a:pt x="494903" y="730495"/>
                </a:lnTo>
                <a:lnTo>
                  <a:pt x="694425" y="594609"/>
                </a:lnTo>
                <a:lnTo>
                  <a:pt x="459860" y="250185"/>
                </a:lnTo>
                <a:close/>
              </a:path>
              <a:path w="694689" h="730885">
                <a:moveTo>
                  <a:pt x="535442" y="0"/>
                </a:moveTo>
                <a:lnTo>
                  <a:pt x="189097" y="66806"/>
                </a:lnTo>
                <a:lnTo>
                  <a:pt x="0" y="364616"/>
                </a:lnTo>
                <a:lnTo>
                  <a:pt x="168005" y="250185"/>
                </a:lnTo>
                <a:lnTo>
                  <a:pt x="459860" y="250185"/>
                </a:lnTo>
                <a:lnTo>
                  <a:pt x="367405" y="114431"/>
                </a:lnTo>
                <a:lnTo>
                  <a:pt x="535442" y="0"/>
                </a:lnTo>
                <a:close/>
              </a:path>
            </a:pathLst>
          </a:custGeom>
          <a:solidFill>
            <a:srgbClr val="5D10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1" name="object 7"/>
          <p:cNvSpPr>
            <a:spLocks/>
          </p:cNvSpPr>
          <p:nvPr/>
        </p:nvSpPr>
        <p:spPr bwMode="auto">
          <a:xfrm>
            <a:off x="5596847" y="5446910"/>
            <a:ext cx="761298" cy="803385"/>
          </a:xfrm>
          <a:custGeom>
            <a:avLst/>
            <a:gdLst>
              <a:gd name="T0" fmla="*/ 147472 w 689610"/>
              <a:gd name="T1" fmla="*/ 0 h 729614"/>
              <a:gd name="T2" fmla="*/ 318112 w 689610"/>
              <a:gd name="T3" fmla="*/ 110581 h 729614"/>
              <a:gd name="T4" fmla="*/ 0 w 689610"/>
              <a:gd name="T5" fmla="*/ 596100 h 729614"/>
              <a:gd name="T6" fmla="*/ 202732 w 689610"/>
              <a:gd name="T7" fmla="*/ 727534 h 729614"/>
              <a:gd name="T8" fmla="*/ 520846 w 689610"/>
              <a:gd name="T9" fmla="*/ 242064 h 729614"/>
              <a:gd name="T10" fmla="*/ 617678 w 689610"/>
              <a:gd name="T11" fmla="*/ 242064 h 729614"/>
              <a:gd name="T12" fmla="*/ 496028 w 689610"/>
              <a:gd name="T13" fmla="*/ 59660 h 729614"/>
              <a:gd name="T14" fmla="*/ 147472 w 689610"/>
              <a:gd name="T15" fmla="*/ 0 h 729614"/>
              <a:gd name="T16" fmla="*/ 617678 w 689610"/>
              <a:gd name="T17" fmla="*/ 242064 h 729614"/>
              <a:gd name="T18" fmla="*/ 520846 w 689610"/>
              <a:gd name="T19" fmla="*/ 242064 h 729614"/>
              <a:gd name="T20" fmla="*/ 691516 w 689610"/>
              <a:gd name="T21" fmla="*/ 352778 h 729614"/>
              <a:gd name="T22" fmla="*/ 617678 w 689610"/>
              <a:gd name="T23" fmla="*/ 242064 h 72961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0" t="0" r="r" b="b"/>
            <a:pathLst>
              <a:path w="689610" h="729614">
                <a:moveTo>
                  <a:pt x="147065" y="0"/>
                </a:moveTo>
                <a:lnTo>
                  <a:pt x="317235" y="110870"/>
                </a:lnTo>
                <a:lnTo>
                  <a:pt x="0" y="597657"/>
                </a:lnTo>
                <a:lnTo>
                  <a:pt x="202173" y="729435"/>
                </a:lnTo>
                <a:lnTo>
                  <a:pt x="519409" y="242696"/>
                </a:lnTo>
                <a:lnTo>
                  <a:pt x="615975" y="242696"/>
                </a:lnTo>
                <a:lnTo>
                  <a:pt x="494659" y="59816"/>
                </a:lnTo>
                <a:lnTo>
                  <a:pt x="147065" y="0"/>
                </a:lnTo>
                <a:close/>
              </a:path>
              <a:path w="689610" h="729614">
                <a:moveTo>
                  <a:pt x="615975" y="242696"/>
                </a:moveTo>
                <a:lnTo>
                  <a:pt x="519409" y="242696"/>
                </a:lnTo>
                <a:lnTo>
                  <a:pt x="689609" y="353699"/>
                </a:lnTo>
                <a:lnTo>
                  <a:pt x="615975" y="242696"/>
                </a:lnTo>
                <a:close/>
              </a:path>
            </a:pathLst>
          </a:custGeom>
          <a:solidFill>
            <a:srgbClr val="5D100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2" name="object 8"/>
          <p:cNvSpPr>
            <a:spLocks/>
          </p:cNvSpPr>
          <p:nvPr/>
        </p:nvSpPr>
        <p:spPr bwMode="auto">
          <a:xfrm>
            <a:off x="1599600" y="1717038"/>
            <a:ext cx="6828923" cy="3729872"/>
          </a:xfrm>
          <a:custGeom>
            <a:avLst/>
            <a:gdLst>
              <a:gd name="T0" fmla="*/ 563995 w 6193790"/>
              <a:gd name="T1" fmla="*/ 0 h 3383279"/>
              <a:gd name="T2" fmla="*/ 472515 w 6193790"/>
              <a:gd name="T3" fmla="*/ 7378 h 3383279"/>
              <a:gd name="T4" fmla="*/ 385735 w 6193790"/>
              <a:gd name="T5" fmla="*/ 28741 h 3383279"/>
              <a:gd name="T6" fmla="*/ 304812 w 6193790"/>
              <a:gd name="T7" fmla="*/ 62928 h 3383279"/>
              <a:gd name="T8" fmla="*/ 230913 w 6193790"/>
              <a:gd name="T9" fmla="*/ 108778 h 3383279"/>
              <a:gd name="T10" fmla="*/ 165195 w 6193790"/>
              <a:gd name="T11" fmla="*/ 165129 h 3383279"/>
              <a:gd name="T12" fmla="*/ 108822 w 6193790"/>
              <a:gd name="T13" fmla="*/ 230819 h 3383279"/>
              <a:gd name="T14" fmla="*/ 62953 w 6193790"/>
              <a:gd name="T15" fmla="*/ 304690 h 3383279"/>
              <a:gd name="T16" fmla="*/ 28754 w 6193790"/>
              <a:gd name="T17" fmla="*/ 385581 h 3383279"/>
              <a:gd name="T18" fmla="*/ 7382 w 6193790"/>
              <a:gd name="T19" fmla="*/ 472329 h 3383279"/>
              <a:gd name="T20" fmla="*/ 0 w 6193790"/>
              <a:gd name="T21" fmla="*/ 563773 h 3383279"/>
              <a:gd name="T22" fmla="*/ 1869 w 6193790"/>
              <a:gd name="T23" fmla="*/ 2865108 h 3383279"/>
              <a:gd name="T24" fmla="*/ 16392 w 6193790"/>
              <a:gd name="T25" fmla="*/ 2954348 h 3383279"/>
              <a:gd name="T26" fmla="*/ 44324 w 6193790"/>
              <a:gd name="T27" fmla="*/ 3038311 h 3383279"/>
              <a:gd name="T28" fmla="*/ 84503 w 6193790"/>
              <a:gd name="T29" fmla="*/ 3115837 h 3383279"/>
              <a:gd name="T30" fmla="*/ 135768 w 6193790"/>
              <a:gd name="T31" fmla="*/ 3185763 h 3383279"/>
              <a:gd name="T32" fmla="*/ 196958 w 6193790"/>
              <a:gd name="T33" fmla="*/ 3246931 h 3383279"/>
              <a:gd name="T34" fmla="*/ 266912 w 6193790"/>
              <a:gd name="T35" fmla="*/ 3298176 h 3383279"/>
              <a:gd name="T36" fmla="*/ 344468 w 6193790"/>
              <a:gd name="T37" fmla="*/ 3338339 h 3383279"/>
              <a:gd name="T38" fmla="*/ 428465 w 6193790"/>
              <a:gd name="T39" fmla="*/ 3366261 h 3383279"/>
              <a:gd name="T40" fmla="*/ 517740 w 6193790"/>
              <a:gd name="T41" fmla="*/ 3380776 h 3383279"/>
              <a:gd name="T42" fmla="*/ 5630809 w 6193790"/>
              <a:gd name="T43" fmla="*/ 3382645 h 3383279"/>
              <a:gd name="T44" fmla="*/ 5722292 w 6193790"/>
              <a:gd name="T45" fmla="*/ 3375267 h 3383279"/>
              <a:gd name="T46" fmla="*/ 5809072 w 6193790"/>
              <a:gd name="T47" fmla="*/ 3353903 h 3383279"/>
              <a:gd name="T48" fmla="*/ 5889995 w 6193790"/>
              <a:gd name="T49" fmla="*/ 3319715 h 3383279"/>
              <a:gd name="T50" fmla="*/ 5963894 w 6193790"/>
              <a:gd name="T51" fmla="*/ 3273865 h 3383279"/>
              <a:gd name="T52" fmla="*/ 6029612 w 6193790"/>
              <a:gd name="T53" fmla="*/ 3217514 h 3383279"/>
              <a:gd name="T54" fmla="*/ 6085985 w 6193790"/>
              <a:gd name="T55" fmla="*/ 3151823 h 3383279"/>
              <a:gd name="T56" fmla="*/ 6131853 w 6193790"/>
              <a:gd name="T57" fmla="*/ 3077952 h 3383279"/>
              <a:gd name="T58" fmla="*/ 6166052 w 6193790"/>
              <a:gd name="T59" fmla="*/ 2997062 h 3383279"/>
              <a:gd name="T60" fmla="*/ 6187423 w 6193790"/>
              <a:gd name="T61" fmla="*/ 2910314 h 3383279"/>
              <a:gd name="T62" fmla="*/ 6194805 w 6193790"/>
              <a:gd name="T63" fmla="*/ 2818871 h 3383279"/>
              <a:gd name="T64" fmla="*/ 6192936 w 6193790"/>
              <a:gd name="T65" fmla="*/ 517537 h 3383279"/>
              <a:gd name="T66" fmla="*/ 6178413 w 6193790"/>
              <a:gd name="T67" fmla="*/ 428295 h 3383279"/>
              <a:gd name="T68" fmla="*/ 6150482 w 6193790"/>
              <a:gd name="T69" fmla="*/ 344331 h 3383279"/>
              <a:gd name="T70" fmla="*/ 6110303 w 6193790"/>
              <a:gd name="T71" fmla="*/ 266805 h 3383279"/>
              <a:gd name="T72" fmla="*/ 6059039 w 6193790"/>
              <a:gd name="T73" fmla="*/ 196880 h 3383279"/>
              <a:gd name="T74" fmla="*/ 5997849 w 6193790"/>
              <a:gd name="T75" fmla="*/ 135712 h 3383279"/>
              <a:gd name="T76" fmla="*/ 5927896 w 6193790"/>
              <a:gd name="T77" fmla="*/ 84468 h 3383279"/>
              <a:gd name="T78" fmla="*/ 5850339 w 6193790"/>
              <a:gd name="T79" fmla="*/ 44305 h 3383279"/>
              <a:gd name="T80" fmla="*/ 5766342 w 6193790"/>
              <a:gd name="T81" fmla="*/ 16384 h 3383279"/>
              <a:gd name="T82" fmla="*/ 5677065 w 6193790"/>
              <a:gd name="T83" fmla="*/ 1869 h 338327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6193790" h="3383279">
                <a:moveTo>
                  <a:pt x="5629655" y="0"/>
                </a:moveTo>
                <a:lnTo>
                  <a:pt x="563879" y="0"/>
                </a:lnTo>
                <a:lnTo>
                  <a:pt x="517634" y="1869"/>
                </a:lnTo>
                <a:lnTo>
                  <a:pt x="472419" y="7380"/>
                </a:lnTo>
                <a:lnTo>
                  <a:pt x="428377" y="16388"/>
                </a:lnTo>
                <a:lnTo>
                  <a:pt x="385655" y="28747"/>
                </a:lnTo>
                <a:lnTo>
                  <a:pt x="344398" y="44313"/>
                </a:lnTo>
                <a:lnTo>
                  <a:pt x="304750" y="62940"/>
                </a:lnTo>
                <a:lnTo>
                  <a:pt x="266858" y="84484"/>
                </a:lnTo>
                <a:lnTo>
                  <a:pt x="230865" y="108798"/>
                </a:lnTo>
                <a:lnTo>
                  <a:pt x="196918" y="135738"/>
                </a:lnTo>
                <a:lnTo>
                  <a:pt x="165161" y="165159"/>
                </a:lnTo>
                <a:lnTo>
                  <a:pt x="135740" y="196916"/>
                </a:lnTo>
                <a:lnTo>
                  <a:pt x="108800" y="230863"/>
                </a:lnTo>
                <a:lnTo>
                  <a:pt x="84485" y="266855"/>
                </a:lnTo>
                <a:lnTo>
                  <a:pt x="62941" y="304748"/>
                </a:lnTo>
                <a:lnTo>
                  <a:pt x="44314" y="344395"/>
                </a:lnTo>
                <a:lnTo>
                  <a:pt x="28748" y="385653"/>
                </a:lnTo>
                <a:lnTo>
                  <a:pt x="16388" y="428375"/>
                </a:lnTo>
                <a:lnTo>
                  <a:pt x="7380" y="472417"/>
                </a:lnTo>
                <a:lnTo>
                  <a:pt x="1869" y="517634"/>
                </a:lnTo>
                <a:lnTo>
                  <a:pt x="0" y="563879"/>
                </a:lnTo>
                <a:lnTo>
                  <a:pt x="0" y="2819399"/>
                </a:lnTo>
                <a:lnTo>
                  <a:pt x="1869" y="2865644"/>
                </a:lnTo>
                <a:lnTo>
                  <a:pt x="7380" y="2910860"/>
                </a:lnTo>
                <a:lnTo>
                  <a:pt x="16388" y="2954902"/>
                </a:lnTo>
                <a:lnTo>
                  <a:pt x="28748" y="2997624"/>
                </a:lnTo>
                <a:lnTo>
                  <a:pt x="44314" y="3038881"/>
                </a:lnTo>
                <a:lnTo>
                  <a:pt x="62941" y="3078528"/>
                </a:lnTo>
                <a:lnTo>
                  <a:pt x="84485" y="3116421"/>
                </a:lnTo>
                <a:lnTo>
                  <a:pt x="108800" y="3152413"/>
                </a:lnTo>
                <a:lnTo>
                  <a:pt x="135740" y="3186361"/>
                </a:lnTo>
                <a:lnTo>
                  <a:pt x="165161" y="3218117"/>
                </a:lnTo>
                <a:lnTo>
                  <a:pt x="196918" y="3247539"/>
                </a:lnTo>
                <a:lnTo>
                  <a:pt x="230865" y="3274479"/>
                </a:lnTo>
                <a:lnTo>
                  <a:pt x="266858" y="3298794"/>
                </a:lnTo>
                <a:lnTo>
                  <a:pt x="304750" y="3320337"/>
                </a:lnTo>
                <a:lnTo>
                  <a:pt x="344398" y="3338965"/>
                </a:lnTo>
                <a:lnTo>
                  <a:pt x="385655" y="3354531"/>
                </a:lnTo>
                <a:lnTo>
                  <a:pt x="428377" y="3366891"/>
                </a:lnTo>
                <a:lnTo>
                  <a:pt x="472419" y="3375899"/>
                </a:lnTo>
                <a:lnTo>
                  <a:pt x="517634" y="3381410"/>
                </a:lnTo>
                <a:lnTo>
                  <a:pt x="563879" y="3383279"/>
                </a:lnTo>
                <a:lnTo>
                  <a:pt x="5629655" y="3383279"/>
                </a:lnTo>
                <a:lnTo>
                  <a:pt x="5675901" y="3381410"/>
                </a:lnTo>
                <a:lnTo>
                  <a:pt x="5721118" y="3375899"/>
                </a:lnTo>
                <a:lnTo>
                  <a:pt x="5765160" y="3366891"/>
                </a:lnTo>
                <a:lnTo>
                  <a:pt x="5807882" y="3354531"/>
                </a:lnTo>
                <a:lnTo>
                  <a:pt x="5849139" y="3338965"/>
                </a:lnTo>
                <a:lnTo>
                  <a:pt x="5888787" y="3320337"/>
                </a:lnTo>
                <a:lnTo>
                  <a:pt x="5926680" y="3298794"/>
                </a:lnTo>
                <a:lnTo>
                  <a:pt x="5962672" y="3274479"/>
                </a:lnTo>
                <a:lnTo>
                  <a:pt x="5996619" y="3247539"/>
                </a:lnTo>
                <a:lnTo>
                  <a:pt x="6028376" y="3218117"/>
                </a:lnTo>
                <a:lnTo>
                  <a:pt x="6057797" y="3186361"/>
                </a:lnTo>
                <a:lnTo>
                  <a:pt x="6084737" y="3152413"/>
                </a:lnTo>
                <a:lnTo>
                  <a:pt x="6109051" y="3116421"/>
                </a:lnTo>
                <a:lnTo>
                  <a:pt x="6130595" y="3078528"/>
                </a:lnTo>
                <a:lnTo>
                  <a:pt x="6149222" y="3038881"/>
                </a:lnTo>
                <a:lnTo>
                  <a:pt x="6164788" y="2997624"/>
                </a:lnTo>
                <a:lnTo>
                  <a:pt x="6177147" y="2954902"/>
                </a:lnTo>
                <a:lnTo>
                  <a:pt x="6186155" y="2910860"/>
                </a:lnTo>
                <a:lnTo>
                  <a:pt x="6191666" y="2865644"/>
                </a:lnTo>
                <a:lnTo>
                  <a:pt x="6193535" y="2819399"/>
                </a:lnTo>
                <a:lnTo>
                  <a:pt x="6193535" y="563879"/>
                </a:lnTo>
                <a:lnTo>
                  <a:pt x="6191666" y="517634"/>
                </a:lnTo>
                <a:lnTo>
                  <a:pt x="6186155" y="472417"/>
                </a:lnTo>
                <a:lnTo>
                  <a:pt x="6177147" y="428375"/>
                </a:lnTo>
                <a:lnTo>
                  <a:pt x="6164788" y="385653"/>
                </a:lnTo>
                <a:lnTo>
                  <a:pt x="6149222" y="344395"/>
                </a:lnTo>
                <a:lnTo>
                  <a:pt x="6130595" y="304748"/>
                </a:lnTo>
                <a:lnTo>
                  <a:pt x="6109051" y="266855"/>
                </a:lnTo>
                <a:lnTo>
                  <a:pt x="6084737" y="230863"/>
                </a:lnTo>
                <a:lnTo>
                  <a:pt x="6057797" y="196916"/>
                </a:lnTo>
                <a:lnTo>
                  <a:pt x="6028376" y="165159"/>
                </a:lnTo>
                <a:lnTo>
                  <a:pt x="5996619" y="135738"/>
                </a:lnTo>
                <a:lnTo>
                  <a:pt x="5962672" y="108798"/>
                </a:lnTo>
                <a:lnTo>
                  <a:pt x="5926680" y="84484"/>
                </a:lnTo>
                <a:lnTo>
                  <a:pt x="5888787" y="62940"/>
                </a:lnTo>
                <a:lnTo>
                  <a:pt x="5849139" y="44313"/>
                </a:lnTo>
                <a:lnTo>
                  <a:pt x="5807882" y="28747"/>
                </a:lnTo>
                <a:lnTo>
                  <a:pt x="5765160" y="16388"/>
                </a:lnTo>
                <a:lnTo>
                  <a:pt x="5721118" y="7380"/>
                </a:lnTo>
                <a:lnTo>
                  <a:pt x="5675901" y="1869"/>
                </a:lnTo>
                <a:lnTo>
                  <a:pt x="5629655" y="0"/>
                </a:lnTo>
                <a:close/>
              </a:path>
            </a:pathLst>
          </a:custGeom>
          <a:solidFill>
            <a:srgbClr val="FFFFCC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3" name="object 9"/>
          <p:cNvSpPr>
            <a:spLocks/>
          </p:cNvSpPr>
          <p:nvPr/>
        </p:nvSpPr>
        <p:spPr bwMode="auto">
          <a:xfrm>
            <a:off x="1599600" y="1717038"/>
            <a:ext cx="6828923" cy="3729872"/>
          </a:xfrm>
          <a:custGeom>
            <a:avLst/>
            <a:gdLst>
              <a:gd name="T0" fmla="*/ 1869 w 6193790"/>
              <a:gd name="T1" fmla="*/ 517537 h 3383279"/>
              <a:gd name="T2" fmla="*/ 16392 w 6193790"/>
              <a:gd name="T3" fmla="*/ 428295 h 3383279"/>
              <a:gd name="T4" fmla="*/ 44324 w 6193790"/>
              <a:gd name="T5" fmla="*/ 344331 h 3383279"/>
              <a:gd name="T6" fmla="*/ 84503 w 6193790"/>
              <a:gd name="T7" fmla="*/ 266805 h 3383279"/>
              <a:gd name="T8" fmla="*/ 135768 w 6193790"/>
              <a:gd name="T9" fmla="*/ 196880 h 3383279"/>
              <a:gd name="T10" fmla="*/ 196958 w 6193790"/>
              <a:gd name="T11" fmla="*/ 135712 h 3383279"/>
              <a:gd name="T12" fmla="*/ 266912 w 6193790"/>
              <a:gd name="T13" fmla="*/ 84468 h 3383279"/>
              <a:gd name="T14" fmla="*/ 344468 w 6193790"/>
              <a:gd name="T15" fmla="*/ 44305 h 3383279"/>
              <a:gd name="T16" fmla="*/ 428465 w 6193790"/>
              <a:gd name="T17" fmla="*/ 16384 h 3383279"/>
              <a:gd name="T18" fmla="*/ 517740 w 6193790"/>
              <a:gd name="T19" fmla="*/ 1869 h 3383279"/>
              <a:gd name="T20" fmla="*/ 5630809 w 6193790"/>
              <a:gd name="T21" fmla="*/ 0 h 3383279"/>
              <a:gd name="T22" fmla="*/ 5722292 w 6193790"/>
              <a:gd name="T23" fmla="*/ 7378 h 3383279"/>
              <a:gd name="T24" fmla="*/ 5809072 w 6193790"/>
              <a:gd name="T25" fmla="*/ 28741 h 3383279"/>
              <a:gd name="T26" fmla="*/ 5889995 w 6193790"/>
              <a:gd name="T27" fmla="*/ 62928 h 3383279"/>
              <a:gd name="T28" fmla="*/ 5963894 w 6193790"/>
              <a:gd name="T29" fmla="*/ 108778 h 3383279"/>
              <a:gd name="T30" fmla="*/ 6029612 w 6193790"/>
              <a:gd name="T31" fmla="*/ 165129 h 3383279"/>
              <a:gd name="T32" fmla="*/ 6085985 w 6193790"/>
              <a:gd name="T33" fmla="*/ 230819 h 3383279"/>
              <a:gd name="T34" fmla="*/ 6131853 w 6193790"/>
              <a:gd name="T35" fmla="*/ 304690 h 3383279"/>
              <a:gd name="T36" fmla="*/ 6166052 w 6193790"/>
              <a:gd name="T37" fmla="*/ 385581 h 3383279"/>
              <a:gd name="T38" fmla="*/ 6187423 w 6193790"/>
              <a:gd name="T39" fmla="*/ 472329 h 3383279"/>
              <a:gd name="T40" fmla="*/ 6194805 w 6193790"/>
              <a:gd name="T41" fmla="*/ 563773 h 3383279"/>
              <a:gd name="T42" fmla="*/ 6192936 w 6193790"/>
              <a:gd name="T43" fmla="*/ 2865108 h 3383279"/>
              <a:gd name="T44" fmla="*/ 6178413 w 6193790"/>
              <a:gd name="T45" fmla="*/ 2954348 h 3383279"/>
              <a:gd name="T46" fmla="*/ 6150482 w 6193790"/>
              <a:gd name="T47" fmla="*/ 3038311 h 3383279"/>
              <a:gd name="T48" fmla="*/ 6110303 w 6193790"/>
              <a:gd name="T49" fmla="*/ 3115837 h 3383279"/>
              <a:gd name="T50" fmla="*/ 6059039 w 6193790"/>
              <a:gd name="T51" fmla="*/ 3185763 h 3383279"/>
              <a:gd name="T52" fmla="*/ 5997849 w 6193790"/>
              <a:gd name="T53" fmla="*/ 3246931 h 3383279"/>
              <a:gd name="T54" fmla="*/ 5927896 w 6193790"/>
              <a:gd name="T55" fmla="*/ 3298176 h 3383279"/>
              <a:gd name="T56" fmla="*/ 5850339 w 6193790"/>
              <a:gd name="T57" fmla="*/ 3338339 h 3383279"/>
              <a:gd name="T58" fmla="*/ 5766342 w 6193790"/>
              <a:gd name="T59" fmla="*/ 3366261 h 3383279"/>
              <a:gd name="T60" fmla="*/ 5677065 w 6193790"/>
              <a:gd name="T61" fmla="*/ 3380776 h 3383279"/>
              <a:gd name="T62" fmla="*/ 563995 w 6193790"/>
              <a:gd name="T63" fmla="*/ 3382645 h 3383279"/>
              <a:gd name="T64" fmla="*/ 472515 w 6193790"/>
              <a:gd name="T65" fmla="*/ 3375267 h 3383279"/>
              <a:gd name="T66" fmla="*/ 385735 w 6193790"/>
              <a:gd name="T67" fmla="*/ 3353903 h 3383279"/>
              <a:gd name="T68" fmla="*/ 304812 w 6193790"/>
              <a:gd name="T69" fmla="*/ 3319715 h 3383279"/>
              <a:gd name="T70" fmla="*/ 230913 w 6193790"/>
              <a:gd name="T71" fmla="*/ 3273865 h 3383279"/>
              <a:gd name="T72" fmla="*/ 165195 w 6193790"/>
              <a:gd name="T73" fmla="*/ 3217514 h 3383279"/>
              <a:gd name="T74" fmla="*/ 108822 w 6193790"/>
              <a:gd name="T75" fmla="*/ 3151823 h 3383279"/>
              <a:gd name="T76" fmla="*/ 62953 w 6193790"/>
              <a:gd name="T77" fmla="*/ 3077952 h 3383279"/>
              <a:gd name="T78" fmla="*/ 28754 w 6193790"/>
              <a:gd name="T79" fmla="*/ 2997062 h 3383279"/>
              <a:gd name="T80" fmla="*/ 7382 w 6193790"/>
              <a:gd name="T81" fmla="*/ 2910314 h 3383279"/>
              <a:gd name="T82" fmla="*/ 0 w 6193790"/>
              <a:gd name="T83" fmla="*/ 2818871 h 3383279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6193790" h="3383279">
                <a:moveTo>
                  <a:pt x="0" y="563879"/>
                </a:moveTo>
                <a:lnTo>
                  <a:pt x="1869" y="517634"/>
                </a:lnTo>
                <a:lnTo>
                  <a:pt x="7380" y="472417"/>
                </a:lnTo>
                <a:lnTo>
                  <a:pt x="16388" y="428375"/>
                </a:lnTo>
                <a:lnTo>
                  <a:pt x="28748" y="385653"/>
                </a:lnTo>
                <a:lnTo>
                  <a:pt x="44314" y="344395"/>
                </a:lnTo>
                <a:lnTo>
                  <a:pt x="62941" y="304748"/>
                </a:lnTo>
                <a:lnTo>
                  <a:pt x="84485" y="266855"/>
                </a:lnTo>
                <a:lnTo>
                  <a:pt x="108800" y="230863"/>
                </a:lnTo>
                <a:lnTo>
                  <a:pt x="135740" y="196916"/>
                </a:lnTo>
                <a:lnTo>
                  <a:pt x="165161" y="165159"/>
                </a:lnTo>
                <a:lnTo>
                  <a:pt x="196918" y="135738"/>
                </a:lnTo>
                <a:lnTo>
                  <a:pt x="230865" y="108798"/>
                </a:lnTo>
                <a:lnTo>
                  <a:pt x="266858" y="84484"/>
                </a:lnTo>
                <a:lnTo>
                  <a:pt x="304750" y="62940"/>
                </a:lnTo>
                <a:lnTo>
                  <a:pt x="344398" y="44313"/>
                </a:lnTo>
                <a:lnTo>
                  <a:pt x="385655" y="28747"/>
                </a:lnTo>
                <a:lnTo>
                  <a:pt x="428377" y="16388"/>
                </a:lnTo>
                <a:lnTo>
                  <a:pt x="472419" y="7380"/>
                </a:lnTo>
                <a:lnTo>
                  <a:pt x="517634" y="1869"/>
                </a:lnTo>
                <a:lnTo>
                  <a:pt x="563879" y="0"/>
                </a:lnTo>
                <a:lnTo>
                  <a:pt x="5629655" y="0"/>
                </a:lnTo>
                <a:lnTo>
                  <a:pt x="5675901" y="1869"/>
                </a:lnTo>
                <a:lnTo>
                  <a:pt x="5721118" y="7380"/>
                </a:lnTo>
                <a:lnTo>
                  <a:pt x="5765160" y="16388"/>
                </a:lnTo>
                <a:lnTo>
                  <a:pt x="5807882" y="28747"/>
                </a:lnTo>
                <a:lnTo>
                  <a:pt x="5849139" y="44313"/>
                </a:lnTo>
                <a:lnTo>
                  <a:pt x="5888787" y="62940"/>
                </a:lnTo>
                <a:lnTo>
                  <a:pt x="5926680" y="84484"/>
                </a:lnTo>
                <a:lnTo>
                  <a:pt x="5962672" y="108798"/>
                </a:lnTo>
                <a:lnTo>
                  <a:pt x="5996619" y="135738"/>
                </a:lnTo>
                <a:lnTo>
                  <a:pt x="6028376" y="165159"/>
                </a:lnTo>
                <a:lnTo>
                  <a:pt x="6057797" y="196916"/>
                </a:lnTo>
                <a:lnTo>
                  <a:pt x="6084737" y="230863"/>
                </a:lnTo>
                <a:lnTo>
                  <a:pt x="6109051" y="266855"/>
                </a:lnTo>
                <a:lnTo>
                  <a:pt x="6130595" y="304748"/>
                </a:lnTo>
                <a:lnTo>
                  <a:pt x="6149222" y="344395"/>
                </a:lnTo>
                <a:lnTo>
                  <a:pt x="6164788" y="385653"/>
                </a:lnTo>
                <a:lnTo>
                  <a:pt x="6177147" y="428375"/>
                </a:lnTo>
                <a:lnTo>
                  <a:pt x="6186155" y="472417"/>
                </a:lnTo>
                <a:lnTo>
                  <a:pt x="6191666" y="517634"/>
                </a:lnTo>
                <a:lnTo>
                  <a:pt x="6193535" y="563879"/>
                </a:lnTo>
                <a:lnTo>
                  <a:pt x="6193535" y="2819399"/>
                </a:lnTo>
                <a:lnTo>
                  <a:pt x="6191666" y="2865644"/>
                </a:lnTo>
                <a:lnTo>
                  <a:pt x="6186155" y="2910860"/>
                </a:lnTo>
                <a:lnTo>
                  <a:pt x="6177147" y="2954902"/>
                </a:lnTo>
                <a:lnTo>
                  <a:pt x="6164788" y="2997624"/>
                </a:lnTo>
                <a:lnTo>
                  <a:pt x="6149222" y="3038881"/>
                </a:lnTo>
                <a:lnTo>
                  <a:pt x="6130595" y="3078528"/>
                </a:lnTo>
                <a:lnTo>
                  <a:pt x="6109051" y="3116421"/>
                </a:lnTo>
                <a:lnTo>
                  <a:pt x="6084737" y="3152413"/>
                </a:lnTo>
                <a:lnTo>
                  <a:pt x="6057797" y="3186361"/>
                </a:lnTo>
                <a:lnTo>
                  <a:pt x="6028376" y="3218117"/>
                </a:lnTo>
                <a:lnTo>
                  <a:pt x="5996619" y="3247539"/>
                </a:lnTo>
                <a:lnTo>
                  <a:pt x="5962672" y="3274479"/>
                </a:lnTo>
                <a:lnTo>
                  <a:pt x="5926680" y="3298794"/>
                </a:lnTo>
                <a:lnTo>
                  <a:pt x="5888787" y="3320337"/>
                </a:lnTo>
                <a:lnTo>
                  <a:pt x="5849139" y="3338965"/>
                </a:lnTo>
                <a:lnTo>
                  <a:pt x="5807882" y="3354531"/>
                </a:lnTo>
                <a:lnTo>
                  <a:pt x="5765160" y="3366891"/>
                </a:lnTo>
                <a:lnTo>
                  <a:pt x="5721118" y="3375899"/>
                </a:lnTo>
                <a:lnTo>
                  <a:pt x="5675901" y="3381410"/>
                </a:lnTo>
                <a:lnTo>
                  <a:pt x="5629655" y="3383279"/>
                </a:lnTo>
                <a:lnTo>
                  <a:pt x="563879" y="3383279"/>
                </a:lnTo>
                <a:lnTo>
                  <a:pt x="517634" y="3381410"/>
                </a:lnTo>
                <a:lnTo>
                  <a:pt x="472419" y="3375899"/>
                </a:lnTo>
                <a:lnTo>
                  <a:pt x="428377" y="3366891"/>
                </a:lnTo>
                <a:lnTo>
                  <a:pt x="385655" y="3354531"/>
                </a:lnTo>
                <a:lnTo>
                  <a:pt x="344398" y="3338965"/>
                </a:lnTo>
                <a:lnTo>
                  <a:pt x="304750" y="3320337"/>
                </a:lnTo>
                <a:lnTo>
                  <a:pt x="266858" y="3298794"/>
                </a:lnTo>
                <a:lnTo>
                  <a:pt x="230865" y="3274479"/>
                </a:lnTo>
                <a:lnTo>
                  <a:pt x="196918" y="3247539"/>
                </a:lnTo>
                <a:lnTo>
                  <a:pt x="165161" y="3218117"/>
                </a:lnTo>
                <a:lnTo>
                  <a:pt x="135740" y="3186361"/>
                </a:lnTo>
                <a:lnTo>
                  <a:pt x="108800" y="3152413"/>
                </a:lnTo>
                <a:lnTo>
                  <a:pt x="84485" y="3116421"/>
                </a:lnTo>
                <a:lnTo>
                  <a:pt x="62941" y="3078528"/>
                </a:lnTo>
                <a:lnTo>
                  <a:pt x="44314" y="3038881"/>
                </a:lnTo>
                <a:lnTo>
                  <a:pt x="28748" y="2997624"/>
                </a:lnTo>
                <a:lnTo>
                  <a:pt x="16388" y="2954902"/>
                </a:lnTo>
                <a:lnTo>
                  <a:pt x="7380" y="2910860"/>
                </a:lnTo>
                <a:lnTo>
                  <a:pt x="1869" y="2865644"/>
                </a:lnTo>
                <a:lnTo>
                  <a:pt x="0" y="2819399"/>
                </a:lnTo>
                <a:lnTo>
                  <a:pt x="0" y="563879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12" name="object 12"/>
          <p:cNvSpPr txBox="1"/>
          <p:nvPr/>
        </p:nvSpPr>
        <p:spPr>
          <a:xfrm>
            <a:off x="3505468" y="6248543"/>
            <a:ext cx="2905179" cy="3539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000" algn="ctr">
              <a:defRPr/>
            </a:pPr>
            <a:r>
              <a:rPr b="1" spc="-17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b="1" spc="-11" dirty="0">
                <a:solidFill>
                  <a:srgbClr val="FFFFFF"/>
                </a:solidFill>
                <a:latin typeface="Arial"/>
                <a:cs typeface="Arial"/>
              </a:rPr>
              <a:t>h</a:t>
            </a:r>
            <a:r>
              <a:rPr b="1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b="1" spc="39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b="1" dirty="0">
                <a:solidFill>
                  <a:srgbClr val="FFFFFF"/>
                </a:solidFill>
                <a:latin typeface="Arial"/>
                <a:cs typeface="Arial"/>
              </a:rPr>
              <a:t>Proje</a:t>
            </a:r>
            <a:r>
              <a:rPr b="1" spc="-11" dirty="0">
                <a:solidFill>
                  <a:srgbClr val="FFFFFF"/>
                </a:solidFill>
                <a:latin typeface="Arial"/>
                <a:cs typeface="Arial"/>
              </a:rPr>
              <a:t>c</a:t>
            </a:r>
            <a:r>
              <a:rPr b="1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endParaRPr dirty="0">
              <a:latin typeface="Arial"/>
              <a:cs typeface="Arial"/>
            </a:endParaRPr>
          </a:p>
        </p:txBody>
      </p:sp>
      <p:sp>
        <p:nvSpPr>
          <p:cNvPr id="47117" name="object 13"/>
          <p:cNvSpPr>
            <a:spLocks/>
          </p:cNvSpPr>
          <p:nvPr/>
        </p:nvSpPr>
        <p:spPr bwMode="auto">
          <a:xfrm>
            <a:off x="3186948" y="3224039"/>
            <a:ext cx="3652476" cy="1986582"/>
          </a:xfrm>
          <a:custGeom>
            <a:avLst/>
            <a:gdLst>
              <a:gd name="T0" fmla="*/ 1520891 w 3312160"/>
              <a:gd name="T1" fmla="*/ 2987 h 1801495"/>
              <a:gd name="T2" fmla="*/ 1258624 w 3312160"/>
              <a:gd name="T3" fmla="*/ 26184 h 1801495"/>
              <a:gd name="T4" fmla="*/ 1011871 w 3312160"/>
              <a:gd name="T5" fmla="*/ 70799 h 1801495"/>
              <a:gd name="T6" fmla="*/ 784042 w 3312160"/>
              <a:gd name="T7" fmla="*/ 134983 h 1801495"/>
              <a:gd name="T8" fmla="*/ 578550 w 3312160"/>
              <a:gd name="T9" fmla="*/ 216876 h 1801495"/>
              <a:gd name="T10" fmla="*/ 398805 w 3312160"/>
              <a:gd name="T11" fmla="*/ 314628 h 1801495"/>
              <a:gd name="T12" fmla="*/ 248214 w 3312160"/>
              <a:gd name="T13" fmla="*/ 426378 h 1801495"/>
              <a:gd name="T14" fmla="*/ 130192 w 3312160"/>
              <a:gd name="T15" fmla="*/ 550278 h 1801495"/>
              <a:gd name="T16" fmla="*/ 48148 w 3312160"/>
              <a:gd name="T17" fmla="*/ 684471 h 1801495"/>
              <a:gd name="T18" fmla="*/ 5492 w 3312160"/>
              <a:gd name="T19" fmla="*/ 827101 h 1801495"/>
              <a:gd name="T20" fmla="*/ 5492 w 3312160"/>
              <a:gd name="T21" fmla="*/ 974900 h 1801495"/>
              <a:gd name="T22" fmla="*/ 48148 w 3312160"/>
              <a:gd name="T23" fmla="*/ 1117529 h 1801495"/>
              <a:gd name="T24" fmla="*/ 130192 w 3312160"/>
              <a:gd name="T25" fmla="*/ 1251721 h 1801495"/>
              <a:gd name="T26" fmla="*/ 248214 w 3312160"/>
              <a:gd name="T27" fmla="*/ 1375621 h 1801495"/>
              <a:gd name="T28" fmla="*/ 398805 w 3312160"/>
              <a:gd name="T29" fmla="*/ 1487372 h 1801495"/>
              <a:gd name="T30" fmla="*/ 578550 w 3312160"/>
              <a:gd name="T31" fmla="*/ 1585124 h 1801495"/>
              <a:gd name="T32" fmla="*/ 784042 w 3312160"/>
              <a:gd name="T33" fmla="*/ 1667017 h 1801495"/>
              <a:gd name="T34" fmla="*/ 1011871 w 3312160"/>
              <a:gd name="T35" fmla="*/ 1731201 h 1801495"/>
              <a:gd name="T36" fmla="*/ 1258624 w 3312160"/>
              <a:gd name="T37" fmla="*/ 1775818 h 1801495"/>
              <a:gd name="T38" fmla="*/ 1520891 w 3312160"/>
              <a:gd name="T39" fmla="*/ 1799017 h 1801495"/>
              <a:gd name="T40" fmla="*/ 1792664 w 3312160"/>
              <a:gd name="T41" fmla="*/ 1799017 h 1801495"/>
              <a:gd name="T42" fmla="*/ 2054931 w 3312160"/>
              <a:gd name="T43" fmla="*/ 1775818 h 1801495"/>
              <a:gd name="T44" fmla="*/ 2301684 w 3312160"/>
              <a:gd name="T45" fmla="*/ 1731201 h 1801495"/>
              <a:gd name="T46" fmla="*/ 2529513 w 3312160"/>
              <a:gd name="T47" fmla="*/ 1667017 h 1801495"/>
              <a:gd name="T48" fmla="*/ 2735005 w 3312160"/>
              <a:gd name="T49" fmla="*/ 1585124 h 1801495"/>
              <a:gd name="T50" fmla="*/ 2914751 w 3312160"/>
              <a:gd name="T51" fmla="*/ 1487372 h 1801495"/>
              <a:gd name="T52" fmla="*/ 3065341 w 3312160"/>
              <a:gd name="T53" fmla="*/ 1375621 h 1801495"/>
              <a:gd name="T54" fmla="*/ 3183362 w 3312160"/>
              <a:gd name="T55" fmla="*/ 1251721 h 1801495"/>
              <a:gd name="T56" fmla="*/ 3265407 w 3312160"/>
              <a:gd name="T57" fmla="*/ 1117529 h 1801495"/>
              <a:gd name="T58" fmla="*/ 3308064 w 3312160"/>
              <a:gd name="T59" fmla="*/ 974900 h 1801495"/>
              <a:gd name="T60" fmla="*/ 3308064 w 3312160"/>
              <a:gd name="T61" fmla="*/ 827101 h 1801495"/>
              <a:gd name="T62" fmla="*/ 3265407 w 3312160"/>
              <a:gd name="T63" fmla="*/ 684471 h 1801495"/>
              <a:gd name="T64" fmla="*/ 3183362 w 3312160"/>
              <a:gd name="T65" fmla="*/ 550278 h 1801495"/>
              <a:gd name="T66" fmla="*/ 3065341 w 3312160"/>
              <a:gd name="T67" fmla="*/ 426378 h 1801495"/>
              <a:gd name="T68" fmla="*/ 2914751 w 3312160"/>
              <a:gd name="T69" fmla="*/ 314628 h 1801495"/>
              <a:gd name="T70" fmla="*/ 2735005 w 3312160"/>
              <a:gd name="T71" fmla="*/ 216876 h 1801495"/>
              <a:gd name="T72" fmla="*/ 2529513 w 3312160"/>
              <a:gd name="T73" fmla="*/ 134983 h 1801495"/>
              <a:gd name="T74" fmla="*/ 2301684 w 3312160"/>
              <a:gd name="T75" fmla="*/ 70799 h 1801495"/>
              <a:gd name="T76" fmla="*/ 2054931 w 3312160"/>
              <a:gd name="T77" fmla="*/ 26184 h 1801495"/>
              <a:gd name="T78" fmla="*/ 1792664 w 3312160"/>
              <a:gd name="T79" fmla="*/ 2987 h 1801495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0" t="0" r="r" b="b"/>
            <a:pathLst>
              <a:path w="3312160" h="1801495">
                <a:moveTo>
                  <a:pt x="1655825" y="0"/>
                </a:moveTo>
                <a:lnTo>
                  <a:pt x="1520017" y="2985"/>
                </a:lnTo>
                <a:lnTo>
                  <a:pt x="1387234" y="11787"/>
                </a:lnTo>
                <a:lnTo>
                  <a:pt x="1257900" y="26174"/>
                </a:lnTo>
                <a:lnTo>
                  <a:pt x="1132443" y="45914"/>
                </a:lnTo>
                <a:lnTo>
                  <a:pt x="1011289" y="70775"/>
                </a:lnTo>
                <a:lnTo>
                  <a:pt x="894863" y="100527"/>
                </a:lnTo>
                <a:lnTo>
                  <a:pt x="783592" y="134935"/>
                </a:lnTo>
                <a:lnTo>
                  <a:pt x="677901" y="173771"/>
                </a:lnTo>
                <a:lnTo>
                  <a:pt x="578218" y="216800"/>
                </a:lnTo>
                <a:lnTo>
                  <a:pt x="484967" y="263792"/>
                </a:lnTo>
                <a:lnTo>
                  <a:pt x="398575" y="314516"/>
                </a:lnTo>
                <a:lnTo>
                  <a:pt x="319468" y="368738"/>
                </a:lnTo>
                <a:lnTo>
                  <a:pt x="248072" y="426228"/>
                </a:lnTo>
                <a:lnTo>
                  <a:pt x="184813" y="486754"/>
                </a:lnTo>
                <a:lnTo>
                  <a:pt x="130118" y="550084"/>
                </a:lnTo>
                <a:lnTo>
                  <a:pt x="84411" y="615986"/>
                </a:lnTo>
                <a:lnTo>
                  <a:pt x="48120" y="684229"/>
                </a:lnTo>
                <a:lnTo>
                  <a:pt x="21671" y="754581"/>
                </a:lnTo>
                <a:lnTo>
                  <a:pt x="5488" y="826809"/>
                </a:lnTo>
                <a:lnTo>
                  <a:pt x="0" y="900683"/>
                </a:lnTo>
                <a:lnTo>
                  <a:pt x="5488" y="974556"/>
                </a:lnTo>
                <a:lnTo>
                  <a:pt x="21671" y="1046784"/>
                </a:lnTo>
                <a:lnTo>
                  <a:pt x="48120" y="1117135"/>
                </a:lnTo>
                <a:lnTo>
                  <a:pt x="84411" y="1185377"/>
                </a:lnTo>
                <a:lnTo>
                  <a:pt x="130118" y="1251279"/>
                </a:lnTo>
                <a:lnTo>
                  <a:pt x="184813" y="1314609"/>
                </a:lnTo>
                <a:lnTo>
                  <a:pt x="248072" y="1375135"/>
                </a:lnTo>
                <a:lnTo>
                  <a:pt x="319468" y="1432625"/>
                </a:lnTo>
                <a:lnTo>
                  <a:pt x="398575" y="1486847"/>
                </a:lnTo>
                <a:lnTo>
                  <a:pt x="484967" y="1537571"/>
                </a:lnTo>
                <a:lnTo>
                  <a:pt x="578218" y="1584564"/>
                </a:lnTo>
                <a:lnTo>
                  <a:pt x="677901" y="1627594"/>
                </a:lnTo>
                <a:lnTo>
                  <a:pt x="783592" y="1666429"/>
                </a:lnTo>
                <a:lnTo>
                  <a:pt x="894863" y="1700839"/>
                </a:lnTo>
                <a:lnTo>
                  <a:pt x="1011289" y="1730590"/>
                </a:lnTo>
                <a:lnTo>
                  <a:pt x="1132443" y="1755452"/>
                </a:lnTo>
                <a:lnTo>
                  <a:pt x="1257900" y="1775192"/>
                </a:lnTo>
                <a:lnTo>
                  <a:pt x="1387234" y="1789580"/>
                </a:lnTo>
                <a:lnTo>
                  <a:pt x="1520017" y="1798382"/>
                </a:lnTo>
                <a:lnTo>
                  <a:pt x="1655825" y="1801367"/>
                </a:lnTo>
                <a:lnTo>
                  <a:pt x="1791634" y="1798382"/>
                </a:lnTo>
                <a:lnTo>
                  <a:pt x="1924417" y="1789580"/>
                </a:lnTo>
                <a:lnTo>
                  <a:pt x="2053751" y="1775192"/>
                </a:lnTo>
                <a:lnTo>
                  <a:pt x="2179208" y="1755452"/>
                </a:lnTo>
                <a:lnTo>
                  <a:pt x="2300362" y="1730590"/>
                </a:lnTo>
                <a:lnTo>
                  <a:pt x="2416788" y="1700839"/>
                </a:lnTo>
                <a:lnTo>
                  <a:pt x="2528059" y="1666429"/>
                </a:lnTo>
                <a:lnTo>
                  <a:pt x="2633750" y="1627594"/>
                </a:lnTo>
                <a:lnTo>
                  <a:pt x="2733433" y="1584564"/>
                </a:lnTo>
                <a:lnTo>
                  <a:pt x="2826684" y="1537571"/>
                </a:lnTo>
                <a:lnTo>
                  <a:pt x="2913076" y="1486847"/>
                </a:lnTo>
                <a:lnTo>
                  <a:pt x="2992183" y="1432625"/>
                </a:lnTo>
                <a:lnTo>
                  <a:pt x="3063579" y="1375135"/>
                </a:lnTo>
                <a:lnTo>
                  <a:pt x="3126838" y="1314609"/>
                </a:lnTo>
                <a:lnTo>
                  <a:pt x="3181533" y="1251279"/>
                </a:lnTo>
                <a:lnTo>
                  <a:pt x="3227240" y="1185377"/>
                </a:lnTo>
                <a:lnTo>
                  <a:pt x="3263531" y="1117135"/>
                </a:lnTo>
                <a:lnTo>
                  <a:pt x="3289980" y="1046784"/>
                </a:lnTo>
                <a:lnTo>
                  <a:pt x="3306163" y="974556"/>
                </a:lnTo>
                <a:lnTo>
                  <a:pt x="3311651" y="900683"/>
                </a:lnTo>
                <a:lnTo>
                  <a:pt x="3306163" y="826809"/>
                </a:lnTo>
                <a:lnTo>
                  <a:pt x="3289980" y="754581"/>
                </a:lnTo>
                <a:lnTo>
                  <a:pt x="3263531" y="684229"/>
                </a:lnTo>
                <a:lnTo>
                  <a:pt x="3227240" y="615986"/>
                </a:lnTo>
                <a:lnTo>
                  <a:pt x="3181533" y="550084"/>
                </a:lnTo>
                <a:lnTo>
                  <a:pt x="3126838" y="486754"/>
                </a:lnTo>
                <a:lnTo>
                  <a:pt x="3063579" y="426228"/>
                </a:lnTo>
                <a:lnTo>
                  <a:pt x="2992183" y="368738"/>
                </a:lnTo>
                <a:lnTo>
                  <a:pt x="2913076" y="314516"/>
                </a:lnTo>
                <a:lnTo>
                  <a:pt x="2826684" y="263792"/>
                </a:lnTo>
                <a:lnTo>
                  <a:pt x="2733433" y="216800"/>
                </a:lnTo>
                <a:lnTo>
                  <a:pt x="2633750" y="173771"/>
                </a:lnTo>
                <a:lnTo>
                  <a:pt x="2528059" y="134935"/>
                </a:lnTo>
                <a:lnTo>
                  <a:pt x="2416788" y="100527"/>
                </a:lnTo>
                <a:lnTo>
                  <a:pt x="2300362" y="70775"/>
                </a:lnTo>
                <a:lnTo>
                  <a:pt x="2179208" y="45914"/>
                </a:lnTo>
                <a:lnTo>
                  <a:pt x="2053751" y="26174"/>
                </a:lnTo>
                <a:lnTo>
                  <a:pt x="1924417" y="11787"/>
                </a:lnTo>
                <a:lnTo>
                  <a:pt x="1791634" y="2985"/>
                </a:lnTo>
                <a:lnTo>
                  <a:pt x="1655825" y="0"/>
                </a:lnTo>
                <a:close/>
              </a:path>
            </a:pathLst>
          </a:custGeom>
          <a:solidFill>
            <a:srgbClr val="045F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8" name="object 14"/>
          <p:cNvSpPr>
            <a:spLocks/>
          </p:cNvSpPr>
          <p:nvPr/>
        </p:nvSpPr>
        <p:spPr bwMode="auto">
          <a:xfrm>
            <a:off x="4615037" y="4652277"/>
            <a:ext cx="714044" cy="1429989"/>
          </a:xfrm>
          <a:custGeom>
            <a:avLst/>
            <a:gdLst>
              <a:gd name="T0" fmla="*/ 647699 w 647700"/>
              <a:gd name="T1" fmla="*/ 1044953 h 1297304"/>
              <a:gd name="T2" fmla="*/ 0 w 647700"/>
              <a:gd name="T3" fmla="*/ 1044953 h 1297304"/>
              <a:gd name="T4" fmla="*/ 323849 w 647700"/>
              <a:gd name="T5" fmla="*/ 1296291 h 1297304"/>
              <a:gd name="T6" fmla="*/ 647699 w 647700"/>
              <a:gd name="T7" fmla="*/ 1044953 h 1297304"/>
              <a:gd name="T8" fmla="*/ 444489 w 647700"/>
              <a:gd name="T9" fmla="*/ 0 h 1297304"/>
              <a:gd name="T10" fmla="*/ 203210 w 647700"/>
              <a:gd name="T11" fmla="*/ 0 h 1297304"/>
              <a:gd name="T12" fmla="*/ 203210 w 647700"/>
              <a:gd name="T13" fmla="*/ 1044953 h 1297304"/>
              <a:gd name="T14" fmla="*/ 444489 w 647700"/>
              <a:gd name="T15" fmla="*/ 1044953 h 1297304"/>
              <a:gd name="T16" fmla="*/ 444489 w 647700"/>
              <a:gd name="T17" fmla="*/ 0 h 129730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0" t="0" r="r" b="b"/>
            <a:pathLst>
              <a:path w="647700" h="1297304">
                <a:moveTo>
                  <a:pt x="647699" y="1045463"/>
                </a:moveTo>
                <a:lnTo>
                  <a:pt x="0" y="1045463"/>
                </a:lnTo>
                <a:lnTo>
                  <a:pt x="323849" y="1296923"/>
                </a:lnTo>
                <a:lnTo>
                  <a:pt x="647699" y="1045463"/>
                </a:lnTo>
                <a:close/>
              </a:path>
              <a:path w="647700" h="1297304">
                <a:moveTo>
                  <a:pt x="444489" y="0"/>
                </a:moveTo>
                <a:lnTo>
                  <a:pt x="203210" y="0"/>
                </a:lnTo>
                <a:lnTo>
                  <a:pt x="203210" y="1045463"/>
                </a:lnTo>
                <a:lnTo>
                  <a:pt x="444489" y="1045463"/>
                </a:lnTo>
                <a:lnTo>
                  <a:pt x="444489" y="0"/>
                </a:lnTo>
                <a:close/>
              </a:path>
            </a:pathLst>
          </a:custGeom>
          <a:solidFill>
            <a:srgbClr val="045F7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19" name="object 15"/>
          <p:cNvSpPr>
            <a:spLocks/>
          </p:cNvSpPr>
          <p:nvPr/>
        </p:nvSpPr>
        <p:spPr bwMode="auto">
          <a:xfrm>
            <a:off x="3505468" y="3861145"/>
            <a:ext cx="950308" cy="952159"/>
          </a:xfrm>
          <a:custGeom>
            <a:avLst/>
            <a:gdLst>
              <a:gd name="T0" fmla="*/ 430340 w 862964"/>
              <a:gd name="T1" fmla="*/ 0 h 864235"/>
              <a:gd name="T2" fmla="*/ 360521 w 862964"/>
              <a:gd name="T3" fmla="*/ 5646 h 864235"/>
              <a:gd name="T4" fmla="*/ 294294 w 862964"/>
              <a:gd name="T5" fmla="*/ 21993 h 864235"/>
              <a:gd name="T6" fmla="*/ 232545 w 862964"/>
              <a:gd name="T7" fmla="*/ 48152 h 864235"/>
              <a:gd name="T8" fmla="*/ 176157 w 862964"/>
              <a:gd name="T9" fmla="*/ 83236 h 864235"/>
              <a:gd name="T10" fmla="*/ 126019 w 862964"/>
              <a:gd name="T11" fmla="*/ 126355 h 864235"/>
              <a:gd name="T12" fmla="*/ 83011 w 862964"/>
              <a:gd name="T13" fmla="*/ 176623 h 864235"/>
              <a:gd name="T14" fmla="*/ 48021 w 862964"/>
              <a:gd name="T15" fmla="*/ 233152 h 864235"/>
              <a:gd name="T16" fmla="*/ 21933 w 862964"/>
              <a:gd name="T17" fmla="*/ 295053 h 864235"/>
              <a:gd name="T18" fmla="*/ 5631 w 862964"/>
              <a:gd name="T19" fmla="*/ 361437 h 864235"/>
              <a:gd name="T20" fmla="*/ 0 w 862964"/>
              <a:gd name="T21" fmla="*/ 431419 h 864235"/>
              <a:gd name="T22" fmla="*/ 1425 w 862964"/>
              <a:gd name="T23" fmla="*/ 466805 h 864235"/>
              <a:gd name="T24" fmla="*/ 12502 w 862964"/>
              <a:gd name="T25" fmla="*/ 535101 h 864235"/>
              <a:gd name="T26" fmla="*/ 33809 w 862964"/>
              <a:gd name="T27" fmla="*/ 599355 h 864235"/>
              <a:gd name="T28" fmla="*/ 64459 w 862964"/>
              <a:gd name="T29" fmla="*/ 658681 h 864235"/>
              <a:gd name="T30" fmla="*/ 103568 w 862964"/>
              <a:gd name="T31" fmla="*/ 712190 h 864235"/>
              <a:gd name="T32" fmla="*/ 150252 w 862964"/>
              <a:gd name="T33" fmla="*/ 758995 h 864235"/>
              <a:gd name="T34" fmla="*/ 203626 w 862964"/>
              <a:gd name="T35" fmla="*/ 798207 h 864235"/>
              <a:gd name="T36" fmla="*/ 262804 w 862964"/>
              <a:gd name="T37" fmla="*/ 828937 h 864235"/>
              <a:gd name="T38" fmla="*/ 326904 w 862964"/>
              <a:gd name="T39" fmla="*/ 850301 h 864235"/>
              <a:gd name="T40" fmla="*/ 395037 w 862964"/>
              <a:gd name="T41" fmla="*/ 861408 h 864235"/>
              <a:gd name="T42" fmla="*/ 430340 w 862964"/>
              <a:gd name="T43" fmla="*/ 862838 h 864235"/>
              <a:gd name="T44" fmla="*/ 465644 w 862964"/>
              <a:gd name="T45" fmla="*/ 861408 h 864235"/>
              <a:gd name="T46" fmla="*/ 533777 w 862964"/>
              <a:gd name="T47" fmla="*/ 850301 h 864235"/>
              <a:gd name="T48" fmla="*/ 597877 w 862964"/>
              <a:gd name="T49" fmla="*/ 828937 h 864235"/>
              <a:gd name="T50" fmla="*/ 657055 w 862964"/>
              <a:gd name="T51" fmla="*/ 798207 h 864235"/>
              <a:gd name="T52" fmla="*/ 710429 w 862964"/>
              <a:gd name="T53" fmla="*/ 758995 h 864235"/>
              <a:gd name="T54" fmla="*/ 757113 w 862964"/>
              <a:gd name="T55" fmla="*/ 712190 h 864235"/>
              <a:gd name="T56" fmla="*/ 796223 w 862964"/>
              <a:gd name="T57" fmla="*/ 658681 h 864235"/>
              <a:gd name="T58" fmla="*/ 826873 w 862964"/>
              <a:gd name="T59" fmla="*/ 599355 h 864235"/>
              <a:gd name="T60" fmla="*/ 848178 w 862964"/>
              <a:gd name="T61" fmla="*/ 535101 h 864235"/>
              <a:gd name="T62" fmla="*/ 859255 w 862964"/>
              <a:gd name="T63" fmla="*/ 466805 h 864235"/>
              <a:gd name="T64" fmla="*/ 860680 w 862964"/>
              <a:gd name="T65" fmla="*/ 431419 h 864235"/>
              <a:gd name="T66" fmla="*/ 859255 w 862964"/>
              <a:gd name="T67" fmla="*/ 396035 h 864235"/>
              <a:gd name="T68" fmla="*/ 848178 w 862964"/>
              <a:gd name="T69" fmla="*/ 327740 h 864235"/>
              <a:gd name="T70" fmla="*/ 826873 w 862964"/>
              <a:gd name="T71" fmla="*/ 263486 h 864235"/>
              <a:gd name="T72" fmla="*/ 796223 w 862964"/>
              <a:gd name="T73" fmla="*/ 204161 h 864235"/>
              <a:gd name="T74" fmla="*/ 757113 w 862964"/>
              <a:gd name="T75" fmla="*/ 150651 h 864235"/>
              <a:gd name="T76" fmla="*/ 710429 w 862964"/>
              <a:gd name="T77" fmla="*/ 103847 h 864235"/>
              <a:gd name="T78" fmla="*/ 657055 w 862964"/>
              <a:gd name="T79" fmla="*/ 64632 h 864235"/>
              <a:gd name="T80" fmla="*/ 597877 w 862964"/>
              <a:gd name="T81" fmla="*/ 33901 h 864235"/>
              <a:gd name="T82" fmla="*/ 533777 w 862964"/>
              <a:gd name="T83" fmla="*/ 12538 h 864235"/>
              <a:gd name="T84" fmla="*/ 465644 w 862964"/>
              <a:gd name="T85" fmla="*/ 1430 h 864235"/>
              <a:gd name="T86" fmla="*/ 430340 w 862964"/>
              <a:gd name="T87" fmla="*/ 0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431291" y="0"/>
                </a:moveTo>
                <a:lnTo>
                  <a:pt x="361318" y="5654"/>
                </a:lnTo>
                <a:lnTo>
                  <a:pt x="294944" y="22025"/>
                </a:lnTo>
                <a:lnTo>
                  <a:pt x="233059" y="48222"/>
                </a:lnTo>
                <a:lnTo>
                  <a:pt x="176547" y="83358"/>
                </a:lnTo>
                <a:lnTo>
                  <a:pt x="126297" y="126541"/>
                </a:lnTo>
                <a:lnTo>
                  <a:pt x="83195" y="176883"/>
                </a:lnTo>
                <a:lnTo>
                  <a:pt x="48127" y="233495"/>
                </a:lnTo>
                <a:lnTo>
                  <a:pt x="21981" y="295487"/>
                </a:lnTo>
                <a:lnTo>
                  <a:pt x="5643" y="361969"/>
                </a:lnTo>
                <a:lnTo>
                  <a:pt x="0" y="432053"/>
                </a:lnTo>
                <a:lnTo>
                  <a:pt x="1429" y="467491"/>
                </a:lnTo>
                <a:lnTo>
                  <a:pt x="12530" y="535888"/>
                </a:lnTo>
                <a:lnTo>
                  <a:pt x="33883" y="600237"/>
                </a:lnTo>
                <a:lnTo>
                  <a:pt x="64601" y="659650"/>
                </a:lnTo>
                <a:lnTo>
                  <a:pt x="103797" y="713238"/>
                </a:lnTo>
                <a:lnTo>
                  <a:pt x="150584" y="760111"/>
                </a:lnTo>
                <a:lnTo>
                  <a:pt x="204076" y="799381"/>
                </a:lnTo>
                <a:lnTo>
                  <a:pt x="263385" y="830157"/>
                </a:lnTo>
                <a:lnTo>
                  <a:pt x="327626" y="851552"/>
                </a:lnTo>
                <a:lnTo>
                  <a:pt x="395910" y="862675"/>
                </a:lnTo>
                <a:lnTo>
                  <a:pt x="431291" y="864107"/>
                </a:lnTo>
                <a:lnTo>
                  <a:pt x="466673" y="862675"/>
                </a:lnTo>
                <a:lnTo>
                  <a:pt x="534957" y="851552"/>
                </a:lnTo>
                <a:lnTo>
                  <a:pt x="599198" y="830157"/>
                </a:lnTo>
                <a:lnTo>
                  <a:pt x="658507" y="799381"/>
                </a:lnTo>
                <a:lnTo>
                  <a:pt x="711999" y="760111"/>
                </a:lnTo>
                <a:lnTo>
                  <a:pt x="758786" y="713238"/>
                </a:lnTo>
                <a:lnTo>
                  <a:pt x="797982" y="659650"/>
                </a:lnTo>
                <a:lnTo>
                  <a:pt x="828700" y="600237"/>
                </a:lnTo>
                <a:lnTo>
                  <a:pt x="850053" y="535888"/>
                </a:lnTo>
                <a:lnTo>
                  <a:pt x="861154" y="467491"/>
                </a:lnTo>
                <a:lnTo>
                  <a:pt x="862583" y="432053"/>
                </a:lnTo>
                <a:lnTo>
                  <a:pt x="861154" y="396617"/>
                </a:lnTo>
                <a:lnTo>
                  <a:pt x="850053" y="328222"/>
                </a:lnTo>
                <a:lnTo>
                  <a:pt x="828700" y="263874"/>
                </a:lnTo>
                <a:lnTo>
                  <a:pt x="797982" y="204461"/>
                </a:lnTo>
                <a:lnTo>
                  <a:pt x="758786" y="150873"/>
                </a:lnTo>
                <a:lnTo>
                  <a:pt x="711999" y="103999"/>
                </a:lnTo>
                <a:lnTo>
                  <a:pt x="658507" y="64728"/>
                </a:lnTo>
                <a:lnTo>
                  <a:pt x="599198" y="33951"/>
                </a:lnTo>
                <a:lnTo>
                  <a:pt x="534957" y="12556"/>
                </a:lnTo>
                <a:lnTo>
                  <a:pt x="466673" y="1432"/>
                </a:lnTo>
                <a:lnTo>
                  <a:pt x="431291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0" name="object 16"/>
          <p:cNvSpPr>
            <a:spLocks/>
          </p:cNvSpPr>
          <p:nvPr/>
        </p:nvSpPr>
        <p:spPr bwMode="auto">
          <a:xfrm>
            <a:off x="3505468" y="3861145"/>
            <a:ext cx="950308" cy="952159"/>
          </a:xfrm>
          <a:custGeom>
            <a:avLst/>
            <a:gdLst>
              <a:gd name="T0" fmla="*/ 0 w 862964"/>
              <a:gd name="T1" fmla="*/ 431419 h 864235"/>
              <a:gd name="T2" fmla="*/ 5631 w 862964"/>
              <a:gd name="T3" fmla="*/ 361437 h 864235"/>
              <a:gd name="T4" fmla="*/ 21933 w 862964"/>
              <a:gd name="T5" fmla="*/ 295053 h 864235"/>
              <a:gd name="T6" fmla="*/ 48021 w 862964"/>
              <a:gd name="T7" fmla="*/ 233152 h 864235"/>
              <a:gd name="T8" fmla="*/ 83011 w 862964"/>
              <a:gd name="T9" fmla="*/ 176623 h 864235"/>
              <a:gd name="T10" fmla="*/ 126019 w 862964"/>
              <a:gd name="T11" fmla="*/ 126355 h 864235"/>
              <a:gd name="T12" fmla="*/ 176157 w 862964"/>
              <a:gd name="T13" fmla="*/ 83236 h 864235"/>
              <a:gd name="T14" fmla="*/ 232545 w 862964"/>
              <a:gd name="T15" fmla="*/ 48152 h 864235"/>
              <a:gd name="T16" fmla="*/ 294294 w 862964"/>
              <a:gd name="T17" fmla="*/ 21993 h 864235"/>
              <a:gd name="T18" fmla="*/ 360521 w 862964"/>
              <a:gd name="T19" fmla="*/ 5646 h 864235"/>
              <a:gd name="T20" fmla="*/ 430340 w 862964"/>
              <a:gd name="T21" fmla="*/ 0 h 864235"/>
              <a:gd name="T22" fmla="*/ 465644 w 862964"/>
              <a:gd name="T23" fmla="*/ 1430 h 864235"/>
              <a:gd name="T24" fmla="*/ 533777 w 862964"/>
              <a:gd name="T25" fmla="*/ 12538 h 864235"/>
              <a:gd name="T26" fmla="*/ 597877 w 862964"/>
              <a:gd name="T27" fmla="*/ 33901 h 864235"/>
              <a:gd name="T28" fmla="*/ 657055 w 862964"/>
              <a:gd name="T29" fmla="*/ 64632 h 864235"/>
              <a:gd name="T30" fmla="*/ 710429 w 862964"/>
              <a:gd name="T31" fmla="*/ 103847 h 864235"/>
              <a:gd name="T32" fmla="*/ 757113 w 862964"/>
              <a:gd name="T33" fmla="*/ 150651 h 864235"/>
              <a:gd name="T34" fmla="*/ 796223 w 862964"/>
              <a:gd name="T35" fmla="*/ 204161 h 864235"/>
              <a:gd name="T36" fmla="*/ 826873 w 862964"/>
              <a:gd name="T37" fmla="*/ 263486 h 864235"/>
              <a:gd name="T38" fmla="*/ 848178 w 862964"/>
              <a:gd name="T39" fmla="*/ 327740 h 864235"/>
              <a:gd name="T40" fmla="*/ 859255 w 862964"/>
              <a:gd name="T41" fmla="*/ 396035 h 864235"/>
              <a:gd name="T42" fmla="*/ 860680 w 862964"/>
              <a:gd name="T43" fmla="*/ 431419 h 864235"/>
              <a:gd name="T44" fmla="*/ 859255 w 862964"/>
              <a:gd name="T45" fmla="*/ 466805 h 864235"/>
              <a:gd name="T46" fmla="*/ 848178 w 862964"/>
              <a:gd name="T47" fmla="*/ 535101 h 864235"/>
              <a:gd name="T48" fmla="*/ 826873 w 862964"/>
              <a:gd name="T49" fmla="*/ 599355 h 864235"/>
              <a:gd name="T50" fmla="*/ 796223 w 862964"/>
              <a:gd name="T51" fmla="*/ 658681 h 864235"/>
              <a:gd name="T52" fmla="*/ 757113 w 862964"/>
              <a:gd name="T53" fmla="*/ 712190 h 864235"/>
              <a:gd name="T54" fmla="*/ 710429 w 862964"/>
              <a:gd name="T55" fmla="*/ 758995 h 864235"/>
              <a:gd name="T56" fmla="*/ 657055 w 862964"/>
              <a:gd name="T57" fmla="*/ 798207 h 864235"/>
              <a:gd name="T58" fmla="*/ 597877 w 862964"/>
              <a:gd name="T59" fmla="*/ 828937 h 864235"/>
              <a:gd name="T60" fmla="*/ 533777 w 862964"/>
              <a:gd name="T61" fmla="*/ 850301 h 864235"/>
              <a:gd name="T62" fmla="*/ 465644 w 862964"/>
              <a:gd name="T63" fmla="*/ 861408 h 864235"/>
              <a:gd name="T64" fmla="*/ 430340 w 862964"/>
              <a:gd name="T65" fmla="*/ 862838 h 864235"/>
              <a:gd name="T66" fmla="*/ 395037 w 862964"/>
              <a:gd name="T67" fmla="*/ 861408 h 864235"/>
              <a:gd name="T68" fmla="*/ 326904 w 862964"/>
              <a:gd name="T69" fmla="*/ 850301 h 864235"/>
              <a:gd name="T70" fmla="*/ 262804 w 862964"/>
              <a:gd name="T71" fmla="*/ 828937 h 864235"/>
              <a:gd name="T72" fmla="*/ 203626 w 862964"/>
              <a:gd name="T73" fmla="*/ 798207 h 864235"/>
              <a:gd name="T74" fmla="*/ 150252 w 862964"/>
              <a:gd name="T75" fmla="*/ 758995 h 864235"/>
              <a:gd name="T76" fmla="*/ 103568 w 862964"/>
              <a:gd name="T77" fmla="*/ 712190 h 864235"/>
              <a:gd name="T78" fmla="*/ 64459 w 862964"/>
              <a:gd name="T79" fmla="*/ 658681 h 864235"/>
              <a:gd name="T80" fmla="*/ 33809 w 862964"/>
              <a:gd name="T81" fmla="*/ 599355 h 864235"/>
              <a:gd name="T82" fmla="*/ 12502 w 862964"/>
              <a:gd name="T83" fmla="*/ 535101 h 864235"/>
              <a:gd name="T84" fmla="*/ 1425 w 862964"/>
              <a:gd name="T85" fmla="*/ 466805 h 864235"/>
              <a:gd name="T86" fmla="*/ 0 w 862964"/>
              <a:gd name="T87" fmla="*/ 431419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0" y="432053"/>
                </a:moveTo>
                <a:lnTo>
                  <a:pt x="5643" y="361969"/>
                </a:lnTo>
                <a:lnTo>
                  <a:pt x="21981" y="295487"/>
                </a:lnTo>
                <a:lnTo>
                  <a:pt x="48127" y="233495"/>
                </a:lnTo>
                <a:lnTo>
                  <a:pt x="83195" y="176883"/>
                </a:lnTo>
                <a:lnTo>
                  <a:pt x="126297" y="126541"/>
                </a:lnTo>
                <a:lnTo>
                  <a:pt x="176547" y="83358"/>
                </a:lnTo>
                <a:lnTo>
                  <a:pt x="233059" y="48222"/>
                </a:lnTo>
                <a:lnTo>
                  <a:pt x="294944" y="22025"/>
                </a:lnTo>
                <a:lnTo>
                  <a:pt x="361318" y="5654"/>
                </a:lnTo>
                <a:lnTo>
                  <a:pt x="431291" y="0"/>
                </a:lnTo>
                <a:lnTo>
                  <a:pt x="466673" y="1432"/>
                </a:lnTo>
                <a:lnTo>
                  <a:pt x="534957" y="12556"/>
                </a:lnTo>
                <a:lnTo>
                  <a:pt x="599198" y="33951"/>
                </a:lnTo>
                <a:lnTo>
                  <a:pt x="658507" y="64728"/>
                </a:lnTo>
                <a:lnTo>
                  <a:pt x="711999" y="103999"/>
                </a:lnTo>
                <a:lnTo>
                  <a:pt x="758786" y="150873"/>
                </a:lnTo>
                <a:lnTo>
                  <a:pt x="797982" y="204461"/>
                </a:lnTo>
                <a:lnTo>
                  <a:pt x="828700" y="263874"/>
                </a:lnTo>
                <a:lnTo>
                  <a:pt x="850053" y="328222"/>
                </a:lnTo>
                <a:lnTo>
                  <a:pt x="861154" y="396617"/>
                </a:lnTo>
                <a:lnTo>
                  <a:pt x="862583" y="432053"/>
                </a:lnTo>
                <a:lnTo>
                  <a:pt x="861154" y="467491"/>
                </a:lnTo>
                <a:lnTo>
                  <a:pt x="850053" y="535888"/>
                </a:lnTo>
                <a:lnTo>
                  <a:pt x="828700" y="600237"/>
                </a:lnTo>
                <a:lnTo>
                  <a:pt x="797982" y="659650"/>
                </a:lnTo>
                <a:lnTo>
                  <a:pt x="758786" y="713238"/>
                </a:lnTo>
                <a:lnTo>
                  <a:pt x="711999" y="760111"/>
                </a:lnTo>
                <a:lnTo>
                  <a:pt x="658507" y="799381"/>
                </a:lnTo>
                <a:lnTo>
                  <a:pt x="599198" y="830157"/>
                </a:lnTo>
                <a:lnTo>
                  <a:pt x="534957" y="851552"/>
                </a:lnTo>
                <a:lnTo>
                  <a:pt x="466673" y="862675"/>
                </a:lnTo>
                <a:lnTo>
                  <a:pt x="431291" y="864107"/>
                </a:lnTo>
                <a:lnTo>
                  <a:pt x="395910" y="862675"/>
                </a:lnTo>
                <a:lnTo>
                  <a:pt x="327626" y="851552"/>
                </a:lnTo>
                <a:lnTo>
                  <a:pt x="263385" y="830157"/>
                </a:lnTo>
                <a:lnTo>
                  <a:pt x="204076" y="799381"/>
                </a:lnTo>
                <a:lnTo>
                  <a:pt x="150584" y="760111"/>
                </a:lnTo>
                <a:lnTo>
                  <a:pt x="103797" y="713238"/>
                </a:lnTo>
                <a:lnTo>
                  <a:pt x="64601" y="659650"/>
                </a:lnTo>
                <a:lnTo>
                  <a:pt x="33883" y="600237"/>
                </a:lnTo>
                <a:lnTo>
                  <a:pt x="12530" y="535888"/>
                </a:lnTo>
                <a:lnTo>
                  <a:pt x="1429" y="467491"/>
                </a:lnTo>
                <a:lnTo>
                  <a:pt x="0" y="432053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1" name="object 17"/>
          <p:cNvSpPr txBox="1">
            <a:spLocks noChangeArrowheads="1"/>
          </p:cNvSpPr>
          <p:nvPr/>
        </p:nvSpPr>
        <p:spPr bwMode="auto">
          <a:xfrm>
            <a:off x="3634975" y="3446928"/>
            <a:ext cx="2635663" cy="3539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477838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b="1" dirty="0">
                <a:solidFill>
                  <a:srgbClr val="FFFFFF"/>
                </a:solidFill>
                <a:latin typeface="Arial" charset="0"/>
              </a:rPr>
              <a:t>Project</a:t>
            </a:r>
            <a:r>
              <a:rPr lang="hu-HU" altLang="hu-HU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b="1" dirty="0" smtClean="0">
                <a:solidFill>
                  <a:srgbClr val="FFFFFF"/>
                </a:solidFill>
                <a:latin typeface="Arial" charset="0"/>
              </a:rPr>
              <a:t>Team</a:t>
            </a:r>
            <a:endParaRPr lang="hu-HU" altLang="hu-HU" dirty="0">
              <a:latin typeface="Arial" charset="0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3704981" y="4150912"/>
            <a:ext cx="442777" cy="40011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 algn="ctr">
              <a:defRPr/>
            </a:pPr>
            <a:r>
              <a:rPr lang="hu-HU" sz="1300" spc="-138" dirty="0" err="1" smtClean="0">
                <a:latin typeface="Arial"/>
                <a:cs typeface="Arial"/>
              </a:rPr>
              <a:t>Core</a:t>
            </a:r>
            <a:r>
              <a:rPr lang="hu-HU" sz="1300" spc="-138" dirty="0" smtClean="0">
                <a:latin typeface="Arial"/>
                <a:cs typeface="Arial"/>
              </a:rPr>
              <a:t> t</a:t>
            </a:r>
            <a:r>
              <a:rPr sz="1300" spc="-6" dirty="0" err="1" smtClean="0">
                <a:latin typeface="Arial"/>
                <a:cs typeface="Arial"/>
              </a:rPr>
              <a:t>e</a:t>
            </a:r>
            <a:r>
              <a:rPr sz="1300" spc="6" dirty="0" err="1" smtClean="0">
                <a:latin typeface="Arial"/>
                <a:cs typeface="Arial"/>
              </a:rPr>
              <a:t>a</a:t>
            </a:r>
            <a:r>
              <a:rPr sz="1300" dirty="0" err="1" smtClean="0">
                <a:latin typeface="Arial"/>
                <a:cs typeface="Arial"/>
              </a:rPr>
              <a:t>m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47123" name="object 19"/>
          <p:cNvSpPr>
            <a:spLocks/>
          </p:cNvSpPr>
          <p:nvPr/>
        </p:nvSpPr>
        <p:spPr bwMode="auto">
          <a:xfrm>
            <a:off x="4536281" y="4016922"/>
            <a:ext cx="952059" cy="955660"/>
          </a:xfrm>
          <a:custGeom>
            <a:avLst/>
            <a:gdLst>
              <a:gd name="T0" fmla="*/ 431419 w 864235"/>
              <a:gd name="T1" fmla="*/ 0 h 866139"/>
              <a:gd name="T2" fmla="*/ 361437 w 864235"/>
              <a:gd name="T3" fmla="*/ 5673 h 866139"/>
              <a:gd name="T4" fmla="*/ 295053 w 864235"/>
              <a:gd name="T5" fmla="*/ 22099 h 866139"/>
              <a:gd name="T6" fmla="*/ 233152 w 864235"/>
              <a:gd name="T7" fmla="*/ 48384 h 866139"/>
              <a:gd name="T8" fmla="*/ 176623 w 864235"/>
              <a:gd name="T9" fmla="*/ 83636 h 866139"/>
              <a:gd name="T10" fmla="*/ 126355 w 864235"/>
              <a:gd name="T11" fmla="*/ 126962 h 866139"/>
              <a:gd name="T12" fmla="*/ 83236 w 864235"/>
              <a:gd name="T13" fmla="*/ 177468 h 866139"/>
              <a:gd name="T14" fmla="*/ 48152 w 864235"/>
              <a:gd name="T15" fmla="*/ 234264 h 866139"/>
              <a:gd name="T16" fmla="*/ 21993 w 864235"/>
              <a:gd name="T17" fmla="*/ 296455 h 866139"/>
              <a:gd name="T18" fmla="*/ 5646 w 864235"/>
              <a:gd name="T19" fmla="*/ 363147 h 866139"/>
              <a:gd name="T20" fmla="*/ 0 w 864235"/>
              <a:gd name="T21" fmla="*/ 433451 h 866139"/>
              <a:gd name="T22" fmla="*/ 1430 w 864235"/>
              <a:gd name="T23" fmla="*/ 468998 h 866139"/>
              <a:gd name="T24" fmla="*/ 12538 w 864235"/>
              <a:gd name="T25" fmla="*/ 537608 h 866139"/>
              <a:gd name="T26" fmla="*/ 33901 w 864235"/>
              <a:gd name="T27" fmla="*/ 602163 h 866139"/>
              <a:gd name="T28" fmla="*/ 64632 w 864235"/>
              <a:gd name="T29" fmla="*/ 661767 h 866139"/>
              <a:gd name="T30" fmla="*/ 103847 w 864235"/>
              <a:gd name="T31" fmla="*/ 715529 h 866139"/>
              <a:gd name="T32" fmla="*/ 150651 w 864235"/>
              <a:gd name="T33" fmla="*/ 762557 h 866139"/>
              <a:gd name="T34" fmla="*/ 204161 w 864235"/>
              <a:gd name="T35" fmla="*/ 801957 h 866139"/>
              <a:gd name="T36" fmla="*/ 263486 w 864235"/>
              <a:gd name="T37" fmla="*/ 832838 h 866139"/>
              <a:gd name="T38" fmla="*/ 327740 w 864235"/>
              <a:gd name="T39" fmla="*/ 854305 h 866139"/>
              <a:gd name="T40" fmla="*/ 396035 w 864235"/>
              <a:gd name="T41" fmla="*/ 865467 h 866139"/>
              <a:gd name="T42" fmla="*/ 431419 w 864235"/>
              <a:gd name="T43" fmla="*/ 866903 h 866139"/>
              <a:gd name="T44" fmla="*/ 466804 w 864235"/>
              <a:gd name="T45" fmla="*/ 865467 h 866139"/>
              <a:gd name="T46" fmla="*/ 535098 w 864235"/>
              <a:gd name="T47" fmla="*/ 854305 h 866139"/>
              <a:gd name="T48" fmla="*/ 599351 w 864235"/>
              <a:gd name="T49" fmla="*/ 832838 h 866139"/>
              <a:gd name="T50" fmla="*/ 658677 w 864235"/>
              <a:gd name="T51" fmla="*/ 801957 h 866139"/>
              <a:gd name="T52" fmla="*/ 712186 w 864235"/>
              <a:gd name="T53" fmla="*/ 762557 h 866139"/>
              <a:gd name="T54" fmla="*/ 758992 w 864235"/>
              <a:gd name="T55" fmla="*/ 715529 h 866139"/>
              <a:gd name="T56" fmla="*/ 798205 w 864235"/>
              <a:gd name="T57" fmla="*/ 661767 h 866139"/>
              <a:gd name="T58" fmla="*/ 828936 w 864235"/>
              <a:gd name="T59" fmla="*/ 602163 h 866139"/>
              <a:gd name="T60" fmla="*/ 850300 w 864235"/>
              <a:gd name="T61" fmla="*/ 537608 h 866139"/>
              <a:gd name="T62" fmla="*/ 861408 w 864235"/>
              <a:gd name="T63" fmla="*/ 468998 h 866139"/>
              <a:gd name="T64" fmla="*/ 862838 w 864235"/>
              <a:gd name="T65" fmla="*/ 433451 h 866139"/>
              <a:gd name="T66" fmla="*/ 861408 w 864235"/>
              <a:gd name="T67" fmla="*/ 397905 h 866139"/>
              <a:gd name="T68" fmla="*/ 850300 w 864235"/>
              <a:gd name="T69" fmla="*/ 329294 h 866139"/>
              <a:gd name="T70" fmla="*/ 828936 w 864235"/>
              <a:gd name="T71" fmla="*/ 264740 h 866139"/>
              <a:gd name="T72" fmla="*/ 798205 w 864235"/>
              <a:gd name="T73" fmla="*/ 205136 h 866139"/>
              <a:gd name="T74" fmla="*/ 758992 w 864235"/>
              <a:gd name="T75" fmla="*/ 151373 h 866139"/>
              <a:gd name="T76" fmla="*/ 712186 w 864235"/>
              <a:gd name="T77" fmla="*/ 104347 h 866139"/>
              <a:gd name="T78" fmla="*/ 658677 w 864235"/>
              <a:gd name="T79" fmla="*/ 64946 h 866139"/>
              <a:gd name="T80" fmla="*/ 599351 w 864235"/>
              <a:gd name="T81" fmla="*/ 34065 h 866139"/>
              <a:gd name="T82" fmla="*/ 535098 w 864235"/>
              <a:gd name="T83" fmla="*/ 12597 h 866139"/>
              <a:gd name="T84" fmla="*/ 466804 w 864235"/>
              <a:gd name="T85" fmla="*/ 1436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9" y="5665"/>
                </a:lnTo>
                <a:lnTo>
                  <a:pt x="295487" y="22067"/>
                </a:lnTo>
                <a:lnTo>
                  <a:pt x="233495" y="48313"/>
                </a:lnTo>
                <a:lnTo>
                  <a:pt x="176883" y="83514"/>
                </a:lnTo>
                <a:lnTo>
                  <a:pt x="126541" y="126776"/>
                </a:lnTo>
                <a:lnTo>
                  <a:pt x="83358" y="177208"/>
                </a:lnTo>
                <a:lnTo>
                  <a:pt x="48222" y="233920"/>
                </a:lnTo>
                <a:lnTo>
                  <a:pt x="22025" y="296020"/>
                </a:lnTo>
                <a:lnTo>
                  <a:pt x="5654" y="362615"/>
                </a:lnTo>
                <a:lnTo>
                  <a:pt x="0" y="432815"/>
                </a:lnTo>
                <a:lnTo>
                  <a:pt x="1432" y="468310"/>
                </a:lnTo>
                <a:lnTo>
                  <a:pt x="12556" y="536820"/>
                </a:lnTo>
                <a:lnTo>
                  <a:pt x="33951" y="601279"/>
                </a:lnTo>
                <a:lnTo>
                  <a:pt x="64728" y="660796"/>
                </a:lnTo>
                <a:lnTo>
                  <a:pt x="103999" y="714479"/>
                </a:lnTo>
                <a:lnTo>
                  <a:pt x="150873" y="761438"/>
                </a:lnTo>
                <a:lnTo>
                  <a:pt x="204461" y="800781"/>
                </a:lnTo>
                <a:lnTo>
                  <a:pt x="263874" y="831616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6"/>
                </a:lnTo>
                <a:lnTo>
                  <a:pt x="659646" y="800781"/>
                </a:lnTo>
                <a:lnTo>
                  <a:pt x="713234" y="761438"/>
                </a:lnTo>
                <a:lnTo>
                  <a:pt x="760108" y="714479"/>
                </a:lnTo>
                <a:lnTo>
                  <a:pt x="799379" y="660796"/>
                </a:lnTo>
                <a:lnTo>
                  <a:pt x="830156" y="601279"/>
                </a:lnTo>
                <a:lnTo>
                  <a:pt x="851551" y="536820"/>
                </a:lnTo>
                <a:lnTo>
                  <a:pt x="862675" y="468310"/>
                </a:lnTo>
                <a:lnTo>
                  <a:pt x="864107" y="432815"/>
                </a:lnTo>
                <a:lnTo>
                  <a:pt x="862675" y="397321"/>
                </a:lnTo>
                <a:lnTo>
                  <a:pt x="851551" y="328811"/>
                </a:lnTo>
                <a:lnTo>
                  <a:pt x="830156" y="264352"/>
                </a:lnTo>
                <a:lnTo>
                  <a:pt x="799379" y="204835"/>
                </a:lnTo>
                <a:lnTo>
                  <a:pt x="760108" y="151151"/>
                </a:lnTo>
                <a:lnTo>
                  <a:pt x="713234" y="104193"/>
                </a:lnTo>
                <a:lnTo>
                  <a:pt x="659646" y="64850"/>
                </a:lnTo>
                <a:lnTo>
                  <a:pt x="600233" y="34015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4" name="object 20"/>
          <p:cNvSpPr>
            <a:spLocks/>
          </p:cNvSpPr>
          <p:nvPr/>
        </p:nvSpPr>
        <p:spPr bwMode="auto">
          <a:xfrm>
            <a:off x="4536281" y="4016922"/>
            <a:ext cx="952059" cy="955660"/>
          </a:xfrm>
          <a:custGeom>
            <a:avLst/>
            <a:gdLst>
              <a:gd name="T0" fmla="*/ 0 w 864235"/>
              <a:gd name="T1" fmla="*/ 433451 h 866139"/>
              <a:gd name="T2" fmla="*/ 5646 w 864235"/>
              <a:gd name="T3" fmla="*/ 363147 h 866139"/>
              <a:gd name="T4" fmla="*/ 21993 w 864235"/>
              <a:gd name="T5" fmla="*/ 296455 h 866139"/>
              <a:gd name="T6" fmla="*/ 48152 w 864235"/>
              <a:gd name="T7" fmla="*/ 234264 h 866139"/>
              <a:gd name="T8" fmla="*/ 83236 w 864235"/>
              <a:gd name="T9" fmla="*/ 177468 h 866139"/>
              <a:gd name="T10" fmla="*/ 126355 w 864235"/>
              <a:gd name="T11" fmla="*/ 126962 h 866139"/>
              <a:gd name="T12" fmla="*/ 176623 w 864235"/>
              <a:gd name="T13" fmla="*/ 83636 h 866139"/>
              <a:gd name="T14" fmla="*/ 233152 w 864235"/>
              <a:gd name="T15" fmla="*/ 48384 h 866139"/>
              <a:gd name="T16" fmla="*/ 295053 w 864235"/>
              <a:gd name="T17" fmla="*/ 22099 h 866139"/>
              <a:gd name="T18" fmla="*/ 361437 w 864235"/>
              <a:gd name="T19" fmla="*/ 5673 h 866139"/>
              <a:gd name="T20" fmla="*/ 431419 w 864235"/>
              <a:gd name="T21" fmla="*/ 0 h 866139"/>
              <a:gd name="T22" fmla="*/ 466804 w 864235"/>
              <a:gd name="T23" fmla="*/ 1436 h 866139"/>
              <a:gd name="T24" fmla="*/ 535098 w 864235"/>
              <a:gd name="T25" fmla="*/ 12597 h 866139"/>
              <a:gd name="T26" fmla="*/ 599351 w 864235"/>
              <a:gd name="T27" fmla="*/ 34065 h 866139"/>
              <a:gd name="T28" fmla="*/ 658677 w 864235"/>
              <a:gd name="T29" fmla="*/ 64946 h 866139"/>
              <a:gd name="T30" fmla="*/ 712186 w 864235"/>
              <a:gd name="T31" fmla="*/ 104347 h 866139"/>
              <a:gd name="T32" fmla="*/ 758992 w 864235"/>
              <a:gd name="T33" fmla="*/ 151373 h 866139"/>
              <a:gd name="T34" fmla="*/ 798205 w 864235"/>
              <a:gd name="T35" fmla="*/ 205136 h 866139"/>
              <a:gd name="T36" fmla="*/ 828936 w 864235"/>
              <a:gd name="T37" fmla="*/ 264740 h 866139"/>
              <a:gd name="T38" fmla="*/ 850300 w 864235"/>
              <a:gd name="T39" fmla="*/ 329294 h 866139"/>
              <a:gd name="T40" fmla="*/ 861408 w 864235"/>
              <a:gd name="T41" fmla="*/ 397905 h 866139"/>
              <a:gd name="T42" fmla="*/ 862838 w 864235"/>
              <a:gd name="T43" fmla="*/ 433451 h 866139"/>
              <a:gd name="T44" fmla="*/ 861408 w 864235"/>
              <a:gd name="T45" fmla="*/ 468998 h 866139"/>
              <a:gd name="T46" fmla="*/ 850300 w 864235"/>
              <a:gd name="T47" fmla="*/ 537608 h 866139"/>
              <a:gd name="T48" fmla="*/ 828936 w 864235"/>
              <a:gd name="T49" fmla="*/ 602163 h 866139"/>
              <a:gd name="T50" fmla="*/ 798205 w 864235"/>
              <a:gd name="T51" fmla="*/ 661767 h 866139"/>
              <a:gd name="T52" fmla="*/ 758992 w 864235"/>
              <a:gd name="T53" fmla="*/ 715529 h 866139"/>
              <a:gd name="T54" fmla="*/ 712186 w 864235"/>
              <a:gd name="T55" fmla="*/ 762557 h 866139"/>
              <a:gd name="T56" fmla="*/ 658677 w 864235"/>
              <a:gd name="T57" fmla="*/ 801957 h 866139"/>
              <a:gd name="T58" fmla="*/ 599351 w 864235"/>
              <a:gd name="T59" fmla="*/ 832838 h 866139"/>
              <a:gd name="T60" fmla="*/ 535098 w 864235"/>
              <a:gd name="T61" fmla="*/ 854305 h 866139"/>
              <a:gd name="T62" fmla="*/ 466804 w 864235"/>
              <a:gd name="T63" fmla="*/ 865467 h 866139"/>
              <a:gd name="T64" fmla="*/ 431419 w 864235"/>
              <a:gd name="T65" fmla="*/ 866903 h 866139"/>
              <a:gd name="T66" fmla="*/ 396035 w 864235"/>
              <a:gd name="T67" fmla="*/ 865467 h 866139"/>
              <a:gd name="T68" fmla="*/ 327740 w 864235"/>
              <a:gd name="T69" fmla="*/ 854305 h 866139"/>
              <a:gd name="T70" fmla="*/ 263486 w 864235"/>
              <a:gd name="T71" fmla="*/ 832838 h 866139"/>
              <a:gd name="T72" fmla="*/ 204161 w 864235"/>
              <a:gd name="T73" fmla="*/ 801957 h 866139"/>
              <a:gd name="T74" fmla="*/ 150651 w 864235"/>
              <a:gd name="T75" fmla="*/ 762557 h 866139"/>
              <a:gd name="T76" fmla="*/ 103847 w 864235"/>
              <a:gd name="T77" fmla="*/ 715529 h 866139"/>
              <a:gd name="T78" fmla="*/ 64632 w 864235"/>
              <a:gd name="T79" fmla="*/ 661767 h 866139"/>
              <a:gd name="T80" fmla="*/ 33901 w 864235"/>
              <a:gd name="T81" fmla="*/ 602163 h 866139"/>
              <a:gd name="T82" fmla="*/ 12538 w 864235"/>
              <a:gd name="T83" fmla="*/ 537608 h 866139"/>
              <a:gd name="T84" fmla="*/ 1430 w 864235"/>
              <a:gd name="T85" fmla="*/ 468998 h 866139"/>
              <a:gd name="T86" fmla="*/ 0 w 864235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5"/>
                </a:lnTo>
                <a:lnTo>
                  <a:pt x="22025" y="296020"/>
                </a:lnTo>
                <a:lnTo>
                  <a:pt x="48222" y="233920"/>
                </a:lnTo>
                <a:lnTo>
                  <a:pt x="83358" y="177208"/>
                </a:lnTo>
                <a:lnTo>
                  <a:pt x="126541" y="126776"/>
                </a:lnTo>
                <a:lnTo>
                  <a:pt x="176883" y="83514"/>
                </a:lnTo>
                <a:lnTo>
                  <a:pt x="233495" y="48313"/>
                </a:lnTo>
                <a:lnTo>
                  <a:pt x="295487" y="22067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5"/>
                </a:lnTo>
                <a:lnTo>
                  <a:pt x="659646" y="64850"/>
                </a:lnTo>
                <a:lnTo>
                  <a:pt x="713234" y="104193"/>
                </a:lnTo>
                <a:lnTo>
                  <a:pt x="760108" y="151151"/>
                </a:lnTo>
                <a:lnTo>
                  <a:pt x="799379" y="204835"/>
                </a:lnTo>
                <a:lnTo>
                  <a:pt x="830156" y="264352"/>
                </a:lnTo>
                <a:lnTo>
                  <a:pt x="851551" y="328811"/>
                </a:lnTo>
                <a:lnTo>
                  <a:pt x="862675" y="397321"/>
                </a:lnTo>
                <a:lnTo>
                  <a:pt x="864107" y="432815"/>
                </a:lnTo>
                <a:lnTo>
                  <a:pt x="862675" y="468310"/>
                </a:lnTo>
                <a:lnTo>
                  <a:pt x="851551" y="536820"/>
                </a:lnTo>
                <a:lnTo>
                  <a:pt x="830156" y="601279"/>
                </a:lnTo>
                <a:lnTo>
                  <a:pt x="799379" y="660796"/>
                </a:lnTo>
                <a:lnTo>
                  <a:pt x="760108" y="714479"/>
                </a:lnTo>
                <a:lnTo>
                  <a:pt x="713234" y="761438"/>
                </a:lnTo>
                <a:lnTo>
                  <a:pt x="659646" y="800781"/>
                </a:lnTo>
                <a:lnTo>
                  <a:pt x="600233" y="831616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6"/>
                </a:lnTo>
                <a:lnTo>
                  <a:pt x="204461" y="800781"/>
                </a:lnTo>
                <a:lnTo>
                  <a:pt x="150873" y="761438"/>
                </a:lnTo>
                <a:lnTo>
                  <a:pt x="103999" y="714479"/>
                </a:lnTo>
                <a:lnTo>
                  <a:pt x="64728" y="660796"/>
                </a:lnTo>
                <a:lnTo>
                  <a:pt x="33951" y="601279"/>
                </a:lnTo>
                <a:lnTo>
                  <a:pt x="12556" y="536820"/>
                </a:lnTo>
                <a:lnTo>
                  <a:pt x="1432" y="468310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5" name="object 21"/>
          <p:cNvSpPr txBox="1">
            <a:spLocks noChangeArrowheads="1"/>
          </p:cNvSpPr>
          <p:nvPr/>
        </p:nvSpPr>
        <p:spPr bwMode="auto">
          <a:xfrm>
            <a:off x="4667540" y="4307470"/>
            <a:ext cx="693043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61913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 dirty="0">
                <a:latin typeface="Arial" charset="0"/>
              </a:rPr>
              <a:t>Project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>
                <a:latin typeface="Arial" charset="0"/>
              </a:rPr>
              <a:t>Manager</a:t>
            </a:r>
          </a:p>
        </p:txBody>
      </p:sp>
      <p:sp>
        <p:nvSpPr>
          <p:cNvPr id="47126" name="object 22"/>
          <p:cNvSpPr>
            <a:spLocks/>
          </p:cNvSpPr>
          <p:nvPr/>
        </p:nvSpPr>
        <p:spPr bwMode="auto">
          <a:xfrm>
            <a:off x="5568845" y="3861145"/>
            <a:ext cx="952059" cy="952159"/>
          </a:xfrm>
          <a:custGeom>
            <a:avLst/>
            <a:gdLst>
              <a:gd name="T0" fmla="*/ 431927 w 862964"/>
              <a:gd name="T1" fmla="*/ 0 h 864235"/>
              <a:gd name="T2" fmla="*/ 361850 w 862964"/>
              <a:gd name="T3" fmla="*/ 5646 h 864235"/>
              <a:gd name="T4" fmla="*/ 295379 w 862964"/>
              <a:gd name="T5" fmla="*/ 21993 h 864235"/>
              <a:gd name="T6" fmla="*/ 233403 w 862964"/>
              <a:gd name="T7" fmla="*/ 48152 h 864235"/>
              <a:gd name="T8" fmla="*/ 176807 w 862964"/>
              <a:gd name="T9" fmla="*/ 83236 h 864235"/>
              <a:gd name="T10" fmla="*/ 126483 w 862964"/>
              <a:gd name="T11" fmla="*/ 126355 h 864235"/>
              <a:gd name="T12" fmla="*/ 83317 w 862964"/>
              <a:gd name="T13" fmla="*/ 176623 h 864235"/>
              <a:gd name="T14" fmla="*/ 48197 w 862964"/>
              <a:gd name="T15" fmla="*/ 233152 h 864235"/>
              <a:gd name="T16" fmla="*/ 22013 w 862964"/>
              <a:gd name="T17" fmla="*/ 295053 h 864235"/>
              <a:gd name="T18" fmla="*/ 5651 w 862964"/>
              <a:gd name="T19" fmla="*/ 361437 h 864235"/>
              <a:gd name="T20" fmla="*/ 0 w 862964"/>
              <a:gd name="T21" fmla="*/ 431419 h 864235"/>
              <a:gd name="T22" fmla="*/ 1431 w 862964"/>
              <a:gd name="T23" fmla="*/ 466805 h 864235"/>
              <a:gd name="T24" fmla="*/ 12548 w 862964"/>
              <a:gd name="T25" fmla="*/ 535101 h 864235"/>
              <a:gd name="T26" fmla="*/ 33933 w 862964"/>
              <a:gd name="T27" fmla="*/ 599355 h 864235"/>
              <a:gd name="T28" fmla="*/ 64697 w 862964"/>
              <a:gd name="T29" fmla="*/ 658681 h 864235"/>
              <a:gd name="T30" fmla="*/ 103950 w 862964"/>
              <a:gd name="T31" fmla="*/ 712190 h 864235"/>
              <a:gd name="T32" fmla="*/ 150806 w 862964"/>
              <a:gd name="T33" fmla="*/ 758995 h 864235"/>
              <a:gd name="T34" fmla="*/ 204377 w 862964"/>
              <a:gd name="T35" fmla="*/ 798207 h 864235"/>
              <a:gd name="T36" fmla="*/ 263773 w 862964"/>
              <a:gd name="T37" fmla="*/ 828937 h 864235"/>
              <a:gd name="T38" fmla="*/ 328109 w 862964"/>
              <a:gd name="T39" fmla="*/ 850301 h 864235"/>
              <a:gd name="T40" fmla="*/ 396494 w 862964"/>
              <a:gd name="T41" fmla="*/ 861408 h 864235"/>
              <a:gd name="T42" fmla="*/ 431927 w 862964"/>
              <a:gd name="T43" fmla="*/ 862838 h 864235"/>
              <a:gd name="T44" fmla="*/ 467361 w 862964"/>
              <a:gd name="T45" fmla="*/ 861408 h 864235"/>
              <a:gd name="T46" fmla="*/ 535746 w 862964"/>
              <a:gd name="T47" fmla="*/ 850301 h 864235"/>
              <a:gd name="T48" fmla="*/ 600082 w 862964"/>
              <a:gd name="T49" fmla="*/ 828937 h 864235"/>
              <a:gd name="T50" fmla="*/ 659478 w 862964"/>
              <a:gd name="T51" fmla="*/ 798207 h 864235"/>
              <a:gd name="T52" fmla="*/ 713049 w 862964"/>
              <a:gd name="T53" fmla="*/ 758995 h 864235"/>
              <a:gd name="T54" fmla="*/ 759905 w 862964"/>
              <a:gd name="T55" fmla="*/ 712190 h 864235"/>
              <a:gd name="T56" fmla="*/ 799159 w 862964"/>
              <a:gd name="T57" fmla="*/ 658681 h 864235"/>
              <a:gd name="T58" fmla="*/ 829922 w 862964"/>
              <a:gd name="T59" fmla="*/ 599355 h 864235"/>
              <a:gd name="T60" fmla="*/ 851306 w 862964"/>
              <a:gd name="T61" fmla="*/ 535101 h 864235"/>
              <a:gd name="T62" fmla="*/ 862424 w 862964"/>
              <a:gd name="T63" fmla="*/ 466805 h 864235"/>
              <a:gd name="T64" fmla="*/ 863855 w 862964"/>
              <a:gd name="T65" fmla="*/ 431419 h 864235"/>
              <a:gd name="T66" fmla="*/ 862424 w 862964"/>
              <a:gd name="T67" fmla="*/ 396035 h 864235"/>
              <a:gd name="T68" fmla="*/ 851306 w 862964"/>
              <a:gd name="T69" fmla="*/ 327740 h 864235"/>
              <a:gd name="T70" fmla="*/ 829922 w 862964"/>
              <a:gd name="T71" fmla="*/ 263486 h 864235"/>
              <a:gd name="T72" fmla="*/ 799159 w 862964"/>
              <a:gd name="T73" fmla="*/ 204161 h 864235"/>
              <a:gd name="T74" fmla="*/ 759905 w 862964"/>
              <a:gd name="T75" fmla="*/ 150651 h 864235"/>
              <a:gd name="T76" fmla="*/ 713049 w 862964"/>
              <a:gd name="T77" fmla="*/ 103847 h 864235"/>
              <a:gd name="T78" fmla="*/ 659478 w 862964"/>
              <a:gd name="T79" fmla="*/ 64632 h 864235"/>
              <a:gd name="T80" fmla="*/ 600082 w 862964"/>
              <a:gd name="T81" fmla="*/ 33901 h 864235"/>
              <a:gd name="T82" fmla="*/ 535746 w 862964"/>
              <a:gd name="T83" fmla="*/ 12538 h 864235"/>
              <a:gd name="T84" fmla="*/ 467361 w 862964"/>
              <a:gd name="T85" fmla="*/ 1430 h 864235"/>
              <a:gd name="T86" fmla="*/ 431927 w 862964"/>
              <a:gd name="T87" fmla="*/ 0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431291" y="0"/>
                </a:moveTo>
                <a:lnTo>
                  <a:pt x="361318" y="5654"/>
                </a:lnTo>
                <a:lnTo>
                  <a:pt x="294944" y="22025"/>
                </a:lnTo>
                <a:lnTo>
                  <a:pt x="233059" y="48222"/>
                </a:lnTo>
                <a:lnTo>
                  <a:pt x="176547" y="83358"/>
                </a:lnTo>
                <a:lnTo>
                  <a:pt x="126297" y="126541"/>
                </a:lnTo>
                <a:lnTo>
                  <a:pt x="83195" y="176883"/>
                </a:lnTo>
                <a:lnTo>
                  <a:pt x="48127" y="233495"/>
                </a:lnTo>
                <a:lnTo>
                  <a:pt x="21981" y="295487"/>
                </a:lnTo>
                <a:lnTo>
                  <a:pt x="5643" y="361969"/>
                </a:lnTo>
                <a:lnTo>
                  <a:pt x="0" y="432053"/>
                </a:lnTo>
                <a:lnTo>
                  <a:pt x="1429" y="467491"/>
                </a:lnTo>
                <a:lnTo>
                  <a:pt x="12530" y="535888"/>
                </a:lnTo>
                <a:lnTo>
                  <a:pt x="33883" y="600237"/>
                </a:lnTo>
                <a:lnTo>
                  <a:pt x="64601" y="659650"/>
                </a:lnTo>
                <a:lnTo>
                  <a:pt x="103797" y="713238"/>
                </a:lnTo>
                <a:lnTo>
                  <a:pt x="150584" y="760111"/>
                </a:lnTo>
                <a:lnTo>
                  <a:pt x="204076" y="799381"/>
                </a:lnTo>
                <a:lnTo>
                  <a:pt x="263385" y="830157"/>
                </a:lnTo>
                <a:lnTo>
                  <a:pt x="327626" y="851552"/>
                </a:lnTo>
                <a:lnTo>
                  <a:pt x="395910" y="862675"/>
                </a:lnTo>
                <a:lnTo>
                  <a:pt x="431291" y="864107"/>
                </a:lnTo>
                <a:lnTo>
                  <a:pt x="466673" y="862675"/>
                </a:lnTo>
                <a:lnTo>
                  <a:pt x="534957" y="851552"/>
                </a:lnTo>
                <a:lnTo>
                  <a:pt x="599198" y="830157"/>
                </a:lnTo>
                <a:lnTo>
                  <a:pt x="658507" y="799381"/>
                </a:lnTo>
                <a:lnTo>
                  <a:pt x="711999" y="760111"/>
                </a:lnTo>
                <a:lnTo>
                  <a:pt x="758786" y="713238"/>
                </a:lnTo>
                <a:lnTo>
                  <a:pt x="797982" y="659650"/>
                </a:lnTo>
                <a:lnTo>
                  <a:pt x="828700" y="600237"/>
                </a:lnTo>
                <a:lnTo>
                  <a:pt x="850053" y="535888"/>
                </a:lnTo>
                <a:lnTo>
                  <a:pt x="861154" y="467491"/>
                </a:lnTo>
                <a:lnTo>
                  <a:pt x="862583" y="432053"/>
                </a:lnTo>
                <a:lnTo>
                  <a:pt x="861154" y="396617"/>
                </a:lnTo>
                <a:lnTo>
                  <a:pt x="850053" y="328222"/>
                </a:lnTo>
                <a:lnTo>
                  <a:pt x="828700" y="263874"/>
                </a:lnTo>
                <a:lnTo>
                  <a:pt x="797982" y="204461"/>
                </a:lnTo>
                <a:lnTo>
                  <a:pt x="758786" y="150873"/>
                </a:lnTo>
                <a:lnTo>
                  <a:pt x="711999" y="103999"/>
                </a:lnTo>
                <a:lnTo>
                  <a:pt x="658507" y="64728"/>
                </a:lnTo>
                <a:lnTo>
                  <a:pt x="599198" y="33951"/>
                </a:lnTo>
                <a:lnTo>
                  <a:pt x="534957" y="12556"/>
                </a:lnTo>
                <a:lnTo>
                  <a:pt x="466673" y="1432"/>
                </a:lnTo>
                <a:lnTo>
                  <a:pt x="431291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7" name="object 23"/>
          <p:cNvSpPr>
            <a:spLocks/>
          </p:cNvSpPr>
          <p:nvPr/>
        </p:nvSpPr>
        <p:spPr bwMode="auto">
          <a:xfrm>
            <a:off x="5568845" y="3861145"/>
            <a:ext cx="952059" cy="952159"/>
          </a:xfrm>
          <a:custGeom>
            <a:avLst/>
            <a:gdLst>
              <a:gd name="T0" fmla="*/ 0 w 862964"/>
              <a:gd name="T1" fmla="*/ 431419 h 864235"/>
              <a:gd name="T2" fmla="*/ 5651 w 862964"/>
              <a:gd name="T3" fmla="*/ 361437 h 864235"/>
              <a:gd name="T4" fmla="*/ 22013 w 862964"/>
              <a:gd name="T5" fmla="*/ 295053 h 864235"/>
              <a:gd name="T6" fmla="*/ 48197 w 862964"/>
              <a:gd name="T7" fmla="*/ 233152 h 864235"/>
              <a:gd name="T8" fmla="*/ 83317 w 862964"/>
              <a:gd name="T9" fmla="*/ 176623 h 864235"/>
              <a:gd name="T10" fmla="*/ 126483 w 862964"/>
              <a:gd name="T11" fmla="*/ 126355 h 864235"/>
              <a:gd name="T12" fmla="*/ 176807 w 862964"/>
              <a:gd name="T13" fmla="*/ 83236 h 864235"/>
              <a:gd name="T14" fmla="*/ 233403 w 862964"/>
              <a:gd name="T15" fmla="*/ 48152 h 864235"/>
              <a:gd name="T16" fmla="*/ 295379 w 862964"/>
              <a:gd name="T17" fmla="*/ 21993 h 864235"/>
              <a:gd name="T18" fmla="*/ 361850 w 862964"/>
              <a:gd name="T19" fmla="*/ 5646 h 864235"/>
              <a:gd name="T20" fmla="*/ 431927 w 862964"/>
              <a:gd name="T21" fmla="*/ 0 h 864235"/>
              <a:gd name="T22" fmla="*/ 467361 w 862964"/>
              <a:gd name="T23" fmla="*/ 1430 h 864235"/>
              <a:gd name="T24" fmla="*/ 535746 w 862964"/>
              <a:gd name="T25" fmla="*/ 12538 h 864235"/>
              <a:gd name="T26" fmla="*/ 600082 w 862964"/>
              <a:gd name="T27" fmla="*/ 33901 h 864235"/>
              <a:gd name="T28" fmla="*/ 659478 w 862964"/>
              <a:gd name="T29" fmla="*/ 64632 h 864235"/>
              <a:gd name="T30" fmla="*/ 713049 w 862964"/>
              <a:gd name="T31" fmla="*/ 103847 h 864235"/>
              <a:gd name="T32" fmla="*/ 759905 w 862964"/>
              <a:gd name="T33" fmla="*/ 150651 h 864235"/>
              <a:gd name="T34" fmla="*/ 799159 w 862964"/>
              <a:gd name="T35" fmla="*/ 204161 h 864235"/>
              <a:gd name="T36" fmla="*/ 829922 w 862964"/>
              <a:gd name="T37" fmla="*/ 263486 h 864235"/>
              <a:gd name="T38" fmla="*/ 851306 w 862964"/>
              <a:gd name="T39" fmla="*/ 327740 h 864235"/>
              <a:gd name="T40" fmla="*/ 862424 w 862964"/>
              <a:gd name="T41" fmla="*/ 396035 h 864235"/>
              <a:gd name="T42" fmla="*/ 863855 w 862964"/>
              <a:gd name="T43" fmla="*/ 431419 h 864235"/>
              <a:gd name="T44" fmla="*/ 862424 w 862964"/>
              <a:gd name="T45" fmla="*/ 466805 h 864235"/>
              <a:gd name="T46" fmla="*/ 851306 w 862964"/>
              <a:gd name="T47" fmla="*/ 535101 h 864235"/>
              <a:gd name="T48" fmla="*/ 829922 w 862964"/>
              <a:gd name="T49" fmla="*/ 599355 h 864235"/>
              <a:gd name="T50" fmla="*/ 799159 w 862964"/>
              <a:gd name="T51" fmla="*/ 658681 h 864235"/>
              <a:gd name="T52" fmla="*/ 759905 w 862964"/>
              <a:gd name="T53" fmla="*/ 712190 h 864235"/>
              <a:gd name="T54" fmla="*/ 713049 w 862964"/>
              <a:gd name="T55" fmla="*/ 758995 h 864235"/>
              <a:gd name="T56" fmla="*/ 659478 w 862964"/>
              <a:gd name="T57" fmla="*/ 798207 h 864235"/>
              <a:gd name="T58" fmla="*/ 600082 w 862964"/>
              <a:gd name="T59" fmla="*/ 828937 h 864235"/>
              <a:gd name="T60" fmla="*/ 535746 w 862964"/>
              <a:gd name="T61" fmla="*/ 850301 h 864235"/>
              <a:gd name="T62" fmla="*/ 467361 w 862964"/>
              <a:gd name="T63" fmla="*/ 861408 h 864235"/>
              <a:gd name="T64" fmla="*/ 431927 w 862964"/>
              <a:gd name="T65" fmla="*/ 862838 h 864235"/>
              <a:gd name="T66" fmla="*/ 396494 w 862964"/>
              <a:gd name="T67" fmla="*/ 861408 h 864235"/>
              <a:gd name="T68" fmla="*/ 328109 w 862964"/>
              <a:gd name="T69" fmla="*/ 850301 h 864235"/>
              <a:gd name="T70" fmla="*/ 263773 w 862964"/>
              <a:gd name="T71" fmla="*/ 828937 h 864235"/>
              <a:gd name="T72" fmla="*/ 204377 w 862964"/>
              <a:gd name="T73" fmla="*/ 798207 h 864235"/>
              <a:gd name="T74" fmla="*/ 150806 w 862964"/>
              <a:gd name="T75" fmla="*/ 758995 h 864235"/>
              <a:gd name="T76" fmla="*/ 103950 w 862964"/>
              <a:gd name="T77" fmla="*/ 712190 h 864235"/>
              <a:gd name="T78" fmla="*/ 64697 w 862964"/>
              <a:gd name="T79" fmla="*/ 658681 h 864235"/>
              <a:gd name="T80" fmla="*/ 33933 w 862964"/>
              <a:gd name="T81" fmla="*/ 599355 h 864235"/>
              <a:gd name="T82" fmla="*/ 12548 w 862964"/>
              <a:gd name="T83" fmla="*/ 535101 h 864235"/>
              <a:gd name="T84" fmla="*/ 1431 w 862964"/>
              <a:gd name="T85" fmla="*/ 466805 h 864235"/>
              <a:gd name="T86" fmla="*/ 0 w 862964"/>
              <a:gd name="T87" fmla="*/ 431419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4235">
                <a:moveTo>
                  <a:pt x="0" y="432053"/>
                </a:moveTo>
                <a:lnTo>
                  <a:pt x="5643" y="361969"/>
                </a:lnTo>
                <a:lnTo>
                  <a:pt x="21981" y="295487"/>
                </a:lnTo>
                <a:lnTo>
                  <a:pt x="48127" y="233495"/>
                </a:lnTo>
                <a:lnTo>
                  <a:pt x="83195" y="176883"/>
                </a:lnTo>
                <a:lnTo>
                  <a:pt x="126297" y="126541"/>
                </a:lnTo>
                <a:lnTo>
                  <a:pt x="176547" y="83358"/>
                </a:lnTo>
                <a:lnTo>
                  <a:pt x="233059" y="48222"/>
                </a:lnTo>
                <a:lnTo>
                  <a:pt x="294944" y="22025"/>
                </a:lnTo>
                <a:lnTo>
                  <a:pt x="361318" y="5654"/>
                </a:lnTo>
                <a:lnTo>
                  <a:pt x="431291" y="0"/>
                </a:lnTo>
                <a:lnTo>
                  <a:pt x="466673" y="1432"/>
                </a:lnTo>
                <a:lnTo>
                  <a:pt x="534957" y="12556"/>
                </a:lnTo>
                <a:lnTo>
                  <a:pt x="599198" y="33951"/>
                </a:lnTo>
                <a:lnTo>
                  <a:pt x="658507" y="64728"/>
                </a:lnTo>
                <a:lnTo>
                  <a:pt x="711999" y="103999"/>
                </a:lnTo>
                <a:lnTo>
                  <a:pt x="758786" y="150873"/>
                </a:lnTo>
                <a:lnTo>
                  <a:pt x="797982" y="204461"/>
                </a:lnTo>
                <a:lnTo>
                  <a:pt x="828700" y="263874"/>
                </a:lnTo>
                <a:lnTo>
                  <a:pt x="850053" y="328222"/>
                </a:lnTo>
                <a:lnTo>
                  <a:pt x="861154" y="396617"/>
                </a:lnTo>
                <a:lnTo>
                  <a:pt x="862583" y="432053"/>
                </a:lnTo>
                <a:lnTo>
                  <a:pt x="861154" y="467491"/>
                </a:lnTo>
                <a:lnTo>
                  <a:pt x="850053" y="535888"/>
                </a:lnTo>
                <a:lnTo>
                  <a:pt x="828700" y="600237"/>
                </a:lnTo>
                <a:lnTo>
                  <a:pt x="797982" y="659650"/>
                </a:lnTo>
                <a:lnTo>
                  <a:pt x="758786" y="713238"/>
                </a:lnTo>
                <a:lnTo>
                  <a:pt x="711999" y="760111"/>
                </a:lnTo>
                <a:lnTo>
                  <a:pt x="658507" y="799381"/>
                </a:lnTo>
                <a:lnTo>
                  <a:pt x="599198" y="830157"/>
                </a:lnTo>
                <a:lnTo>
                  <a:pt x="534957" y="851552"/>
                </a:lnTo>
                <a:lnTo>
                  <a:pt x="466673" y="862675"/>
                </a:lnTo>
                <a:lnTo>
                  <a:pt x="431291" y="864107"/>
                </a:lnTo>
                <a:lnTo>
                  <a:pt x="395910" y="862675"/>
                </a:lnTo>
                <a:lnTo>
                  <a:pt x="327626" y="851552"/>
                </a:lnTo>
                <a:lnTo>
                  <a:pt x="263385" y="830157"/>
                </a:lnTo>
                <a:lnTo>
                  <a:pt x="204076" y="799381"/>
                </a:lnTo>
                <a:lnTo>
                  <a:pt x="150584" y="760111"/>
                </a:lnTo>
                <a:lnTo>
                  <a:pt x="103797" y="713238"/>
                </a:lnTo>
                <a:lnTo>
                  <a:pt x="64601" y="659650"/>
                </a:lnTo>
                <a:lnTo>
                  <a:pt x="33883" y="600237"/>
                </a:lnTo>
                <a:lnTo>
                  <a:pt x="12530" y="535888"/>
                </a:lnTo>
                <a:lnTo>
                  <a:pt x="1429" y="467491"/>
                </a:lnTo>
                <a:lnTo>
                  <a:pt x="0" y="432053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28" name="object 24"/>
          <p:cNvSpPr txBox="1">
            <a:spLocks noChangeArrowheads="1"/>
          </p:cNvSpPr>
          <p:nvPr/>
        </p:nvSpPr>
        <p:spPr bwMode="auto">
          <a:xfrm>
            <a:off x="5820861" y="4048427"/>
            <a:ext cx="449778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4288" indent="-3175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 dirty="0" err="1">
                <a:latin typeface="Arial" charset="0"/>
              </a:rPr>
              <a:t>Other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>
                <a:latin typeface="Arial" charset="0"/>
              </a:rPr>
              <a:t>Team</a:t>
            </a:r>
          </a:p>
        </p:txBody>
      </p:sp>
      <p:sp>
        <p:nvSpPr>
          <p:cNvPr id="25" name="object 25"/>
          <p:cNvSpPr txBox="1"/>
          <p:nvPr/>
        </p:nvSpPr>
        <p:spPr>
          <a:xfrm>
            <a:off x="5680852" y="4450995"/>
            <a:ext cx="729796" cy="20005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1300" spc="-11" dirty="0">
                <a:latin typeface="Arial"/>
                <a:cs typeface="Arial"/>
              </a:rPr>
              <a:t>M</a:t>
            </a:r>
            <a:r>
              <a:rPr sz="1300" spc="-6" dirty="0">
                <a:latin typeface="Arial"/>
                <a:cs typeface="Arial"/>
              </a:rPr>
              <a:t>e</a:t>
            </a:r>
            <a:r>
              <a:rPr sz="1300" spc="6" dirty="0">
                <a:latin typeface="Arial"/>
                <a:cs typeface="Arial"/>
              </a:rPr>
              <a:t>m</a:t>
            </a:r>
            <a:r>
              <a:rPr sz="1300" spc="-6" dirty="0">
                <a:latin typeface="Arial"/>
                <a:cs typeface="Arial"/>
              </a:rPr>
              <a:t>b</a:t>
            </a:r>
            <a:r>
              <a:rPr sz="1300" spc="6" dirty="0">
                <a:latin typeface="Arial"/>
                <a:cs typeface="Arial"/>
              </a:rPr>
              <a:t>e</a:t>
            </a:r>
            <a:r>
              <a:rPr sz="1300" spc="-6" dirty="0">
                <a:latin typeface="Arial"/>
                <a:cs typeface="Arial"/>
              </a:rPr>
              <a:t>r</a:t>
            </a:r>
            <a:r>
              <a:rPr sz="1300" dirty="0">
                <a:latin typeface="Arial"/>
                <a:cs typeface="Arial"/>
              </a:rPr>
              <a:t>s</a:t>
            </a:r>
            <a:endParaRPr sz="1300">
              <a:latin typeface="Arial"/>
              <a:cs typeface="Arial"/>
            </a:endParaRPr>
          </a:p>
        </p:txBody>
      </p:sp>
      <p:sp>
        <p:nvSpPr>
          <p:cNvPr id="47130" name="object 26"/>
          <p:cNvSpPr>
            <a:spLocks/>
          </p:cNvSpPr>
          <p:nvPr/>
        </p:nvSpPr>
        <p:spPr bwMode="auto">
          <a:xfrm>
            <a:off x="4646538" y="2213404"/>
            <a:ext cx="952059" cy="955660"/>
          </a:xfrm>
          <a:custGeom>
            <a:avLst/>
            <a:gdLst>
              <a:gd name="T0" fmla="*/ 431419 w 864235"/>
              <a:gd name="T1" fmla="*/ 0 h 866139"/>
              <a:gd name="T2" fmla="*/ 361437 w 864235"/>
              <a:gd name="T3" fmla="*/ 5673 h 866139"/>
              <a:gd name="T4" fmla="*/ 295053 w 864235"/>
              <a:gd name="T5" fmla="*/ 22098 h 866139"/>
              <a:gd name="T6" fmla="*/ 233152 w 864235"/>
              <a:gd name="T7" fmla="*/ 48383 h 866139"/>
              <a:gd name="T8" fmla="*/ 176623 w 864235"/>
              <a:gd name="T9" fmla="*/ 83634 h 866139"/>
              <a:gd name="T10" fmla="*/ 126355 w 864235"/>
              <a:gd name="T11" fmla="*/ 126959 h 866139"/>
              <a:gd name="T12" fmla="*/ 83236 w 864235"/>
              <a:gd name="T13" fmla="*/ 177466 h 866139"/>
              <a:gd name="T14" fmla="*/ 48152 w 864235"/>
              <a:gd name="T15" fmla="*/ 234262 h 866139"/>
              <a:gd name="T16" fmla="*/ 21993 w 864235"/>
              <a:gd name="T17" fmla="*/ 296452 h 866139"/>
              <a:gd name="T18" fmla="*/ 5646 w 864235"/>
              <a:gd name="T19" fmla="*/ 363146 h 866139"/>
              <a:gd name="T20" fmla="*/ 0 w 864235"/>
              <a:gd name="T21" fmla="*/ 433451 h 866139"/>
              <a:gd name="T22" fmla="*/ 1430 w 864235"/>
              <a:gd name="T23" fmla="*/ 468999 h 866139"/>
              <a:gd name="T24" fmla="*/ 12538 w 864235"/>
              <a:gd name="T25" fmla="*/ 537610 h 866139"/>
              <a:gd name="T26" fmla="*/ 33901 w 864235"/>
              <a:gd name="T27" fmla="*/ 602165 h 866139"/>
              <a:gd name="T28" fmla="*/ 64632 w 864235"/>
              <a:gd name="T29" fmla="*/ 661769 h 866139"/>
              <a:gd name="T30" fmla="*/ 103847 w 864235"/>
              <a:gd name="T31" fmla="*/ 715532 h 866139"/>
              <a:gd name="T32" fmla="*/ 150651 w 864235"/>
              <a:gd name="T33" fmla="*/ 762559 h 866139"/>
              <a:gd name="T34" fmla="*/ 204161 w 864235"/>
              <a:gd name="T35" fmla="*/ 801958 h 866139"/>
              <a:gd name="T36" fmla="*/ 263486 w 864235"/>
              <a:gd name="T37" fmla="*/ 832839 h 866139"/>
              <a:gd name="T38" fmla="*/ 327740 w 864235"/>
              <a:gd name="T39" fmla="*/ 854305 h 866139"/>
              <a:gd name="T40" fmla="*/ 396035 w 864235"/>
              <a:gd name="T41" fmla="*/ 865467 h 866139"/>
              <a:gd name="T42" fmla="*/ 431419 w 864235"/>
              <a:gd name="T43" fmla="*/ 866903 h 866139"/>
              <a:gd name="T44" fmla="*/ 466804 w 864235"/>
              <a:gd name="T45" fmla="*/ 865467 h 866139"/>
              <a:gd name="T46" fmla="*/ 535098 w 864235"/>
              <a:gd name="T47" fmla="*/ 854305 h 866139"/>
              <a:gd name="T48" fmla="*/ 599351 w 864235"/>
              <a:gd name="T49" fmla="*/ 832839 h 866139"/>
              <a:gd name="T50" fmla="*/ 658677 w 864235"/>
              <a:gd name="T51" fmla="*/ 801958 h 866139"/>
              <a:gd name="T52" fmla="*/ 712186 w 864235"/>
              <a:gd name="T53" fmla="*/ 762559 h 866139"/>
              <a:gd name="T54" fmla="*/ 758992 w 864235"/>
              <a:gd name="T55" fmla="*/ 715532 h 866139"/>
              <a:gd name="T56" fmla="*/ 798205 w 864235"/>
              <a:gd name="T57" fmla="*/ 661769 h 866139"/>
              <a:gd name="T58" fmla="*/ 828936 w 864235"/>
              <a:gd name="T59" fmla="*/ 602165 h 866139"/>
              <a:gd name="T60" fmla="*/ 850300 w 864235"/>
              <a:gd name="T61" fmla="*/ 537610 h 866139"/>
              <a:gd name="T62" fmla="*/ 861408 w 864235"/>
              <a:gd name="T63" fmla="*/ 468999 h 866139"/>
              <a:gd name="T64" fmla="*/ 862838 w 864235"/>
              <a:gd name="T65" fmla="*/ 433451 h 866139"/>
              <a:gd name="T66" fmla="*/ 861408 w 864235"/>
              <a:gd name="T67" fmla="*/ 397904 h 866139"/>
              <a:gd name="T68" fmla="*/ 850300 w 864235"/>
              <a:gd name="T69" fmla="*/ 329292 h 866139"/>
              <a:gd name="T70" fmla="*/ 828936 w 864235"/>
              <a:gd name="T71" fmla="*/ 264738 h 866139"/>
              <a:gd name="T72" fmla="*/ 798205 w 864235"/>
              <a:gd name="T73" fmla="*/ 205133 h 866139"/>
              <a:gd name="T74" fmla="*/ 758992 w 864235"/>
              <a:gd name="T75" fmla="*/ 151371 h 866139"/>
              <a:gd name="T76" fmla="*/ 712186 w 864235"/>
              <a:gd name="T77" fmla="*/ 104345 h 866139"/>
              <a:gd name="T78" fmla="*/ 658677 w 864235"/>
              <a:gd name="T79" fmla="*/ 64945 h 866139"/>
              <a:gd name="T80" fmla="*/ 599351 w 864235"/>
              <a:gd name="T81" fmla="*/ 34064 h 866139"/>
              <a:gd name="T82" fmla="*/ 535098 w 864235"/>
              <a:gd name="T83" fmla="*/ 12597 h 866139"/>
              <a:gd name="T84" fmla="*/ 466804 w 864235"/>
              <a:gd name="T85" fmla="*/ 1436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9" y="5665"/>
                </a:lnTo>
                <a:lnTo>
                  <a:pt x="295487" y="22066"/>
                </a:lnTo>
                <a:lnTo>
                  <a:pt x="233495" y="48312"/>
                </a:lnTo>
                <a:lnTo>
                  <a:pt x="176883" y="83512"/>
                </a:lnTo>
                <a:lnTo>
                  <a:pt x="126541" y="126773"/>
                </a:lnTo>
                <a:lnTo>
                  <a:pt x="83358" y="177206"/>
                </a:lnTo>
                <a:lnTo>
                  <a:pt x="48222" y="233918"/>
                </a:lnTo>
                <a:lnTo>
                  <a:pt x="22025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6" y="536822"/>
                </a:lnTo>
                <a:lnTo>
                  <a:pt x="33951" y="601281"/>
                </a:lnTo>
                <a:lnTo>
                  <a:pt x="64728" y="660798"/>
                </a:lnTo>
                <a:lnTo>
                  <a:pt x="103999" y="714482"/>
                </a:lnTo>
                <a:lnTo>
                  <a:pt x="150873" y="761440"/>
                </a:lnTo>
                <a:lnTo>
                  <a:pt x="204461" y="800782"/>
                </a:lnTo>
                <a:lnTo>
                  <a:pt x="263874" y="831617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1" name="object 27"/>
          <p:cNvSpPr>
            <a:spLocks/>
          </p:cNvSpPr>
          <p:nvPr/>
        </p:nvSpPr>
        <p:spPr bwMode="auto">
          <a:xfrm>
            <a:off x="4644788" y="2213404"/>
            <a:ext cx="952059" cy="955660"/>
          </a:xfrm>
          <a:custGeom>
            <a:avLst/>
            <a:gdLst>
              <a:gd name="T0" fmla="*/ 0 w 864235"/>
              <a:gd name="T1" fmla="*/ 433451 h 866139"/>
              <a:gd name="T2" fmla="*/ 5646 w 864235"/>
              <a:gd name="T3" fmla="*/ 363146 h 866139"/>
              <a:gd name="T4" fmla="*/ 21993 w 864235"/>
              <a:gd name="T5" fmla="*/ 296452 h 866139"/>
              <a:gd name="T6" fmla="*/ 48152 w 864235"/>
              <a:gd name="T7" fmla="*/ 234262 h 866139"/>
              <a:gd name="T8" fmla="*/ 83236 w 864235"/>
              <a:gd name="T9" fmla="*/ 177466 h 866139"/>
              <a:gd name="T10" fmla="*/ 126355 w 864235"/>
              <a:gd name="T11" fmla="*/ 126959 h 866139"/>
              <a:gd name="T12" fmla="*/ 176623 w 864235"/>
              <a:gd name="T13" fmla="*/ 83634 h 866139"/>
              <a:gd name="T14" fmla="*/ 233152 w 864235"/>
              <a:gd name="T15" fmla="*/ 48383 h 866139"/>
              <a:gd name="T16" fmla="*/ 295053 w 864235"/>
              <a:gd name="T17" fmla="*/ 22098 h 866139"/>
              <a:gd name="T18" fmla="*/ 361437 w 864235"/>
              <a:gd name="T19" fmla="*/ 5673 h 866139"/>
              <a:gd name="T20" fmla="*/ 431419 w 864235"/>
              <a:gd name="T21" fmla="*/ 0 h 866139"/>
              <a:gd name="T22" fmla="*/ 466804 w 864235"/>
              <a:gd name="T23" fmla="*/ 1436 h 866139"/>
              <a:gd name="T24" fmla="*/ 535098 w 864235"/>
              <a:gd name="T25" fmla="*/ 12597 h 866139"/>
              <a:gd name="T26" fmla="*/ 599351 w 864235"/>
              <a:gd name="T27" fmla="*/ 34064 h 866139"/>
              <a:gd name="T28" fmla="*/ 658677 w 864235"/>
              <a:gd name="T29" fmla="*/ 64945 h 866139"/>
              <a:gd name="T30" fmla="*/ 712186 w 864235"/>
              <a:gd name="T31" fmla="*/ 104345 h 866139"/>
              <a:gd name="T32" fmla="*/ 758992 w 864235"/>
              <a:gd name="T33" fmla="*/ 151371 h 866139"/>
              <a:gd name="T34" fmla="*/ 798205 w 864235"/>
              <a:gd name="T35" fmla="*/ 205133 h 866139"/>
              <a:gd name="T36" fmla="*/ 828936 w 864235"/>
              <a:gd name="T37" fmla="*/ 264738 h 866139"/>
              <a:gd name="T38" fmla="*/ 850300 w 864235"/>
              <a:gd name="T39" fmla="*/ 329292 h 866139"/>
              <a:gd name="T40" fmla="*/ 861408 w 864235"/>
              <a:gd name="T41" fmla="*/ 397904 h 866139"/>
              <a:gd name="T42" fmla="*/ 862838 w 864235"/>
              <a:gd name="T43" fmla="*/ 433451 h 866139"/>
              <a:gd name="T44" fmla="*/ 861408 w 864235"/>
              <a:gd name="T45" fmla="*/ 468999 h 866139"/>
              <a:gd name="T46" fmla="*/ 850300 w 864235"/>
              <a:gd name="T47" fmla="*/ 537610 h 866139"/>
              <a:gd name="T48" fmla="*/ 828936 w 864235"/>
              <a:gd name="T49" fmla="*/ 602165 h 866139"/>
              <a:gd name="T50" fmla="*/ 798205 w 864235"/>
              <a:gd name="T51" fmla="*/ 661769 h 866139"/>
              <a:gd name="T52" fmla="*/ 758992 w 864235"/>
              <a:gd name="T53" fmla="*/ 715532 h 866139"/>
              <a:gd name="T54" fmla="*/ 712186 w 864235"/>
              <a:gd name="T55" fmla="*/ 762559 h 866139"/>
              <a:gd name="T56" fmla="*/ 658677 w 864235"/>
              <a:gd name="T57" fmla="*/ 801958 h 866139"/>
              <a:gd name="T58" fmla="*/ 599351 w 864235"/>
              <a:gd name="T59" fmla="*/ 832839 h 866139"/>
              <a:gd name="T60" fmla="*/ 535098 w 864235"/>
              <a:gd name="T61" fmla="*/ 854305 h 866139"/>
              <a:gd name="T62" fmla="*/ 466804 w 864235"/>
              <a:gd name="T63" fmla="*/ 865467 h 866139"/>
              <a:gd name="T64" fmla="*/ 431419 w 864235"/>
              <a:gd name="T65" fmla="*/ 866903 h 866139"/>
              <a:gd name="T66" fmla="*/ 396035 w 864235"/>
              <a:gd name="T67" fmla="*/ 865467 h 866139"/>
              <a:gd name="T68" fmla="*/ 327740 w 864235"/>
              <a:gd name="T69" fmla="*/ 854305 h 866139"/>
              <a:gd name="T70" fmla="*/ 263486 w 864235"/>
              <a:gd name="T71" fmla="*/ 832839 h 866139"/>
              <a:gd name="T72" fmla="*/ 204161 w 864235"/>
              <a:gd name="T73" fmla="*/ 801958 h 866139"/>
              <a:gd name="T74" fmla="*/ 150651 w 864235"/>
              <a:gd name="T75" fmla="*/ 762559 h 866139"/>
              <a:gd name="T76" fmla="*/ 103847 w 864235"/>
              <a:gd name="T77" fmla="*/ 715532 h 866139"/>
              <a:gd name="T78" fmla="*/ 64632 w 864235"/>
              <a:gd name="T79" fmla="*/ 661769 h 866139"/>
              <a:gd name="T80" fmla="*/ 33901 w 864235"/>
              <a:gd name="T81" fmla="*/ 602165 h 866139"/>
              <a:gd name="T82" fmla="*/ 12538 w 864235"/>
              <a:gd name="T83" fmla="*/ 537610 h 866139"/>
              <a:gd name="T84" fmla="*/ 1430 w 864235"/>
              <a:gd name="T85" fmla="*/ 468999 h 866139"/>
              <a:gd name="T86" fmla="*/ 0 w 864235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5" y="296017"/>
                </a:lnTo>
                <a:lnTo>
                  <a:pt x="48222" y="233918"/>
                </a:lnTo>
                <a:lnTo>
                  <a:pt x="83358" y="177206"/>
                </a:lnTo>
                <a:lnTo>
                  <a:pt x="126541" y="126773"/>
                </a:lnTo>
                <a:lnTo>
                  <a:pt x="176883" y="83512"/>
                </a:lnTo>
                <a:lnTo>
                  <a:pt x="233495" y="48312"/>
                </a:lnTo>
                <a:lnTo>
                  <a:pt x="295487" y="22066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7"/>
                </a:lnTo>
                <a:lnTo>
                  <a:pt x="204461" y="800782"/>
                </a:lnTo>
                <a:lnTo>
                  <a:pt x="150873" y="761440"/>
                </a:lnTo>
                <a:lnTo>
                  <a:pt x="103999" y="714482"/>
                </a:lnTo>
                <a:lnTo>
                  <a:pt x="64728" y="660798"/>
                </a:lnTo>
                <a:lnTo>
                  <a:pt x="33951" y="601281"/>
                </a:lnTo>
                <a:lnTo>
                  <a:pt x="12556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28" name="object 28"/>
          <p:cNvSpPr txBox="1"/>
          <p:nvPr/>
        </p:nvSpPr>
        <p:spPr>
          <a:xfrm>
            <a:off x="4795298" y="2603718"/>
            <a:ext cx="654541" cy="20005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1300" dirty="0">
                <a:latin typeface="Arial"/>
                <a:cs typeface="Arial"/>
              </a:rPr>
              <a:t>Sp</a:t>
            </a:r>
            <a:r>
              <a:rPr sz="1300" spc="-6" dirty="0">
                <a:latin typeface="Arial"/>
                <a:cs typeface="Arial"/>
              </a:rPr>
              <a:t>o</a:t>
            </a:r>
            <a:r>
              <a:rPr sz="1300" spc="6" dirty="0">
                <a:latin typeface="Arial"/>
                <a:cs typeface="Arial"/>
              </a:rPr>
              <a:t>n</a:t>
            </a:r>
            <a:r>
              <a:rPr sz="1300" dirty="0">
                <a:latin typeface="Arial"/>
                <a:cs typeface="Arial"/>
              </a:rPr>
              <a:t>s</a:t>
            </a:r>
            <a:r>
              <a:rPr sz="1300" spc="-11" dirty="0">
                <a:latin typeface="Arial"/>
                <a:cs typeface="Arial"/>
              </a:rPr>
              <a:t>o</a:t>
            </a:r>
            <a:r>
              <a:rPr sz="1300" dirty="0">
                <a:latin typeface="Arial"/>
                <a:cs typeface="Arial"/>
              </a:rPr>
              <a:t>r</a:t>
            </a:r>
          </a:p>
        </p:txBody>
      </p:sp>
      <p:sp>
        <p:nvSpPr>
          <p:cNvPr id="47133" name="object 29"/>
          <p:cNvSpPr>
            <a:spLocks/>
          </p:cNvSpPr>
          <p:nvPr/>
        </p:nvSpPr>
        <p:spPr bwMode="auto">
          <a:xfrm>
            <a:off x="2861427" y="2421529"/>
            <a:ext cx="952059" cy="953909"/>
          </a:xfrm>
          <a:custGeom>
            <a:avLst/>
            <a:gdLst>
              <a:gd name="T0" fmla="*/ 431419 w 864235"/>
              <a:gd name="T1" fmla="*/ 0 h 866139"/>
              <a:gd name="T2" fmla="*/ 361435 w 864235"/>
              <a:gd name="T3" fmla="*/ 5653 h 866139"/>
              <a:gd name="T4" fmla="*/ 295049 w 864235"/>
              <a:gd name="T5" fmla="*/ 22018 h 866139"/>
              <a:gd name="T6" fmla="*/ 233148 w 864235"/>
              <a:gd name="T7" fmla="*/ 48206 h 866139"/>
              <a:gd name="T8" fmla="*/ 176619 w 864235"/>
              <a:gd name="T9" fmla="*/ 83328 h 866139"/>
              <a:gd name="T10" fmla="*/ 126352 w 864235"/>
              <a:gd name="T11" fmla="*/ 126495 h 866139"/>
              <a:gd name="T12" fmla="*/ 83233 w 864235"/>
              <a:gd name="T13" fmla="*/ 176816 h 866139"/>
              <a:gd name="T14" fmla="*/ 48151 w 864235"/>
              <a:gd name="T15" fmla="*/ 233404 h 866139"/>
              <a:gd name="T16" fmla="*/ 21992 w 864235"/>
              <a:gd name="T17" fmla="*/ 295367 h 866139"/>
              <a:gd name="T18" fmla="*/ 5646 w 864235"/>
              <a:gd name="T19" fmla="*/ 361817 h 866139"/>
              <a:gd name="T20" fmla="*/ 0 w 864235"/>
              <a:gd name="T21" fmla="*/ 431864 h 866139"/>
              <a:gd name="T22" fmla="*/ 1430 w 864235"/>
              <a:gd name="T23" fmla="*/ 467282 h 866139"/>
              <a:gd name="T24" fmla="*/ 12537 w 864235"/>
              <a:gd name="T25" fmla="*/ 535643 h 866139"/>
              <a:gd name="T26" fmla="*/ 33900 w 864235"/>
              <a:gd name="T27" fmla="*/ 599960 h 866139"/>
              <a:gd name="T28" fmla="*/ 64630 w 864235"/>
              <a:gd name="T29" fmla="*/ 659346 h 866139"/>
              <a:gd name="T30" fmla="*/ 103844 w 864235"/>
              <a:gd name="T31" fmla="*/ 712913 h 866139"/>
              <a:gd name="T32" fmla="*/ 150647 w 864235"/>
              <a:gd name="T33" fmla="*/ 759767 h 866139"/>
              <a:gd name="T34" fmla="*/ 204157 w 864235"/>
              <a:gd name="T35" fmla="*/ 799023 h 866139"/>
              <a:gd name="T36" fmla="*/ 263482 w 864235"/>
              <a:gd name="T37" fmla="*/ 829790 h 866139"/>
              <a:gd name="T38" fmla="*/ 327737 w 864235"/>
              <a:gd name="T39" fmla="*/ 851177 h 866139"/>
              <a:gd name="T40" fmla="*/ 396034 w 864235"/>
              <a:gd name="T41" fmla="*/ 862298 h 866139"/>
              <a:gd name="T42" fmla="*/ 431419 w 864235"/>
              <a:gd name="T43" fmla="*/ 863730 h 866139"/>
              <a:gd name="T44" fmla="*/ 466804 w 864235"/>
              <a:gd name="T45" fmla="*/ 862298 h 866139"/>
              <a:gd name="T46" fmla="*/ 535098 w 864235"/>
              <a:gd name="T47" fmla="*/ 851177 h 866139"/>
              <a:gd name="T48" fmla="*/ 599351 w 864235"/>
              <a:gd name="T49" fmla="*/ 829790 h 866139"/>
              <a:gd name="T50" fmla="*/ 658677 w 864235"/>
              <a:gd name="T51" fmla="*/ 799023 h 866139"/>
              <a:gd name="T52" fmla="*/ 712186 w 864235"/>
              <a:gd name="T53" fmla="*/ 759767 h 866139"/>
              <a:gd name="T54" fmla="*/ 758992 w 864235"/>
              <a:gd name="T55" fmla="*/ 712913 h 866139"/>
              <a:gd name="T56" fmla="*/ 798205 w 864235"/>
              <a:gd name="T57" fmla="*/ 659346 h 866139"/>
              <a:gd name="T58" fmla="*/ 828936 w 864235"/>
              <a:gd name="T59" fmla="*/ 599960 h 866139"/>
              <a:gd name="T60" fmla="*/ 850300 w 864235"/>
              <a:gd name="T61" fmla="*/ 535643 h 866139"/>
              <a:gd name="T62" fmla="*/ 861408 w 864235"/>
              <a:gd name="T63" fmla="*/ 467282 h 866139"/>
              <a:gd name="T64" fmla="*/ 862838 w 864235"/>
              <a:gd name="T65" fmla="*/ 431864 h 866139"/>
              <a:gd name="T66" fmla="*/ 861408 w 864235"/>
              <a:gd name="T67" fmla="*/ 396447 h 866139"/>
              <a:gd name="T68" fmla="*/ 850300 w 864235"/>
              <a:gd name="T69" fmla="*/ 328087 h 866139"/>
              <a:gd name="T70" fmla="*/ 828936 w 864235"/>
              <a:gd name="T71" fmla="*/ 263769 h 866139"/>
              <a:gd name="T72" fmla="*/ 798205 w 864235"/>
              <a:gd name="T73" fmla="*/ 204382 h 866139"/>
              <a:gd name="T74" fmla="*/ 758992 w 864235"/>
              <a:gd name="T75" fmla="*/ 150817 h 866139"/>
              <a:gd name="T76" fmla="*/ 712186 w 864235"/>
              <a:gd name="T77" fmla="*/ 103962 h 866139"/>
              <a:gd name="T78" fmla="*/ 658677 w 864235"/>
              <a:gd name="T79" fmla="*/ 64707 h 866139"/>
              <a:gd name="T80" fmla="*/ 599351 w 864235"/>
              <a:gd name="T81" fmla="*/ 33940 h 866139"/>
              <a:gd name="T82" fmla="*/ 535098 w 864235"/>
              <a:gd name="T83" fmla="*/ 12551 h 866139"/>
              <a:gd name="T84" fmla="*/ 466804 w 864235"/>
              <a:gd name="T85" fmla="*/ 1430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7" y="5665"/>
                </a:lnTo>
                <a:lnTo>
                  <a:pt x="295483" y="22066"/>
                </a:lnTo>
                <a:lnTo>
                  <a:pt x="233491" y="48312"/>
                </a:lnTo>
                <a:lnTo>
                  <a:pt x="176879" y="83512"/>
                </a:lnTo>
                <a:lnTo>
                  <a:pt x="126538" y="126773"/>
                </a:lnTo>
                <a:lnTo>
                  <a:pt x="83355" y="177206"/>
                </a:lnTo>
                <a:lnTo>
                  <a:pt x="48221" y="233918"/>
                </a:lnTo>
                <a:lnTo>
                  <a:pt x="22024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5" y="536822"/>
                </a:lnTo>
                <a:lnTo>
                  <a:pt x="33950" y="601281"/>
                </a:lnTo>
                <a:lnTo>
                  <a:pt x="64726" y="660798"/>
                </a:lnTo>
                <a:lnTo>
                  <a:pt x="103996" y="714482"/>
                </a:lnTo>
                <a:lnTo>
                  <a:pt x="150869" y="761440"/>
                </a:lnTo>
                <a:lnTo>
                  <a:pt x="204457" y="800782"/>
                </a:lnTo>
                <a:lnTo>
                  <a:pt x="263870" y="831617"/>
                </a:lnTo>
                <a:lnTo>
                  <a:pt x="328219" y="853052"/>
                </a:lnTo>
                <a:lnTo>
                  <a:pt x="396616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4" name="object 30"/>
          <p:cNvSpPr>
            <a:spLocks/>
          </p:cNvSpPr>
          <p:nvPr/>
        </p:nvSpPr>
        <p:spPr bwMode="auto">
          <a:xfrm>
            <a:off x="2868428" y="2356893"/>
            <a:ext cx="952059" cy="953909"/>
          </a:xfrm>
          <a:custGeom>
            <a:avLst/>
            <a:gdLst>
              <a:gd name="T0" fmla="*/ 0 w 864235"/>
              <a:gd name="T1" fmla="*/ 431864 h 866139"/>
              <a:gd name="T2" fmla="*/ 5646 w 864235"/>
              <a:gd name="T3" fmla="*/ 361817 h 866139"/>
              <a:gd name="T4" fmla="*/ 21992 w 864235"/>
              <a:gd name="T5" fmla="*/ 295367 h 866139"/>
              <a:gd name="T6" fmla="*/ 48151 w 864235"/>
              <a:gd name="T7" fmla="*/ 233404 h 866139"/>
              <a:gd name="T8" fmla="*/ 83233 w 864235"/>
              <a:gd name="T9" fmla="*/ 176816 h 866139"/>
              <a:gd name="T10" fmla="*/ 126352 w 864235"/>
              <a:gd name="T11" fmla="*/ 126495 h 866139"/>
              <a:gd name="T12" fmla="*/ 176619 w 864235"/>
              <a:gd name="T13" fmla="*/ 83328 h 866139"/>
              <a:gd name="T14" fmla="*/ 233148 w 864235"/>
              <a:gd name="T15" fmla="*/ 48206 h 866139"/>
              <a:gd name="T16" fmla="*/ 295049 w 864235"/>
              <a:gd name="T17" fmla="*/ 22018 h 866139"/>
              <a:gd name="T18" fmla="*/ 361435 w 864235"/>
              <a:gd name="T19" fmla="*/ 5653 h 866139"/>
              <a:gd name="T20" fmla="*/ 431419 w 864235"/>
              <a:gd name="T21" fmla="*/ 0 h 866139"/>
              <a:gd name="T22" fmla="*/ 466804 w 864235"/>
              <a:gd name="T23" fmla="*/ 1430 h 866139"/>
              <a:gd name="T24" fmla="*/ 535098 w 864235"/>
              <a:gd name="T25" fmla="*/ 12551 h 866139"/>
              <a:gd name="T26" fmla="*/ 599351 w 864235"/>
              <a:gd name="T27" fmla="*/ 33940 h 866139"/>
              <a:gd name="T28" fmla="*/ 658677 w 864235"/>
              <a:gd name="T29" fmla="*/ 64707 h 866139"/>
              <a:gd name="T30" fmla="*/ 712186 w 864235"/>
              <a:gd name="T31" fmla="*/ 103962 h 866139"/>
              <a:gd name="T32" fmla="*/ 758992 w 864235"/>
              <a:gd name="T33" fmla="*/ 150817 h 866139"/>
              <a:gd name="T34" fmla="*/ 798205 w 864235"/>
              <a:gd name="T35" fmla="*/ 204382 h 866139"/>
              <a:gd name="T36" fmla="*/ 828936 w 864235"/>
              <a:gd name="T37" fmla="*/ 263769 h 866139"/>
              <a:gd name="T38" fmla="*/ 850300 w 864235"/>
              <a:gd name="T39" fmla="*/ 328087 h 866139"/>
              <a:gd name="T40" fmla="*/ 861408 w 864235"/>
              <a:gd name="T41" fmla="*/ 396447 h 866139"/>
              <a:gd name="T42" fmla="*/ 862838 w 864235"/>
              <a:gd name="T43" fmla="*/ 431864 h 866139"/>
              <a:gd name="T44" fmla="*/ 861408 w 864235"/>
              <a:gd name="T45" fmla="*/ 467282 h 866139"/>
              <a:gd name="T46" fmla="*/ 850300 w 864235"/>
              <a:gd name="T47" fmla="*/ 535643 h 866139"/>
              <a:gd name="T48" fmla="*/ 828936 w 864235"/>
              <a:gd name="T49" fmla="*/ 599960 h 866139"/>
              <a:gd name="T50" fmla="*/ 798205 w 864235"/>
              <a:gd name="T51" fmla="*/ 659346 h 866139"/>
              <a:gd name="T52" fmla="*/ 758992 w 864235"/>
              <a:gd name="T53" fmla="*/ 712913 h 866139"/>
              <a:gd name="T54" fmla="*/ 712186 w 864235"/>
              <a:gd name="T55" fmla="*/ 759767 h 866139"/>
              <a:gd name="T56" fmla="*/ 658677 w 864235"/>
              <a:gd name="T57" fmla="*/ 799023 h 866139"/>
              <a:gd name="T58" fmla="*/ 599351 w 864235"/>
              <a:gd name="T59" fmla="*/ 829790 h 866139"/>
              <a:gd name="T60" fmla="*/ 535098 w 864235"/>
              <a:gd name="T61" fmla="*/ 851177 h 866139"/>
              <a:gd name="T62" fmla="*/ 466804 w 864235"/>
              <a:gd name="T63" fmla="*/ 862298 h 866139"/>
              <a:gd name="T64" fmla="*/ 431419 w 864235"/>
              <a:gd name="T65" fmla="*/ 863730 h 866139"/>
              <a:gd name="T66" fmla="*/ 396034 w 864235"/>
              <a:gd name="T67" fmla="*/ 862298 h 866139"/>
              <a:gd name="T68" fmla="*/ 327737 w 864235"/>
              <a:gd name="T69" fmla="*/ 851177 h 866139"/>
              <a:gd name="T70" fmla="*/ 263482 w 864235"/>
              <a:gd name="T71" fmla="*/ 829790 h 866139"/>
              <a:gd name="T72" fmla="*/ 204157 w 864235"/>
              <a:gd name="T73" fmla="*/ 799023 h 866139"/>
              <a:gd name="T74" fmla="*/ 150647 w 864235"/>
              <a:gd name="T75" fmla="*/ 759767 h 866139"/>
              <a:gd name="T76" fmla="*/ 103844 w 864235"/>
              <a:gd name="T77" fmla="*/ 712913 h 866139"/>
              <a:gd name="T78" fmla="*/ 64630 w 864235"/>
              <a:gd name="T79" fmla="*/ 659346 h 866139"/>
              <a:gd name="T80" fmla="*/ 33900 w 864235"/>
              <a:gd name="T81" fmla="*/ 599960 h 866139"/>
              <a:gd name="T82" fmla="*/ 12537 w 864235"/>
              <a:gd name="T83" fmla="*/ 535643 h 866139"/>
              <a:gd name="T84" fmla="*/ 1430 w 864235"/>
              <a:gd name="T85" fmla="*/ 467282 h 866139"/>
              <a:gd name="T86" fmla="*/ 0 w 864235"/>
              <a:gd name="T87" fmla="*/ 431864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4" y="296017"/>
                </a:lnTo>
                <a:lnTo>
                  <a:pt x="48221" y="233918"/>
                </a:lnTo>
                <a:lnTo>
                  <a:pt x="83355" y="177206"/>
                </a:lnTo>
                <a:lnTo>
                  <a:pt x="126538" y="126773"/>
                </a:lnTo>
                <a:lnTo>
                  <a:pt x="176879" y="83512"/>
                </a:lnTo>
                <a:lnTo>
                  <a:pt x="233491" y="48312"/>
                </a:lnTo>
                <a:lnTo>
                  <a:pt x="295483" y="22066"/>
                </a:lnTo>
                <a:lnTo>
                  <a:pt x="361967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6" y="864197"/>
                </a:lnTo>
                <a:lnTo>
                  <a:pt x="328219" y="853052"/>
                </a:lnTo>
                <a:lnTo>
                  <a:pt x="263870" y="831617"/>
                </a:lnTo>
                <a:lnTo>
                  <a:pt x="204457" y="800782"/>
                </a:lnTo>
                <a:lnTo>
                  <a:pt x="150869" y="761440"/>
                </a:lnTo>
                <a:lnTo>
                  <a:pt x="103996" y="714482"/>
                </a:lnTo>
                <a:lnTo>
                  <a:pt x="64726" y="660798"/>
                </a:lnTo>
                <a:lnTo>
                  <a:pt x="33950" y="601281"/>
                </a:lnTo>
                <a:lnTo>
                  <a:pt x="12555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5" name="object 31"/>
          <p:cNvSpPr txBox="1">
            <a:spLocks noChangeArrowheads="1"/>
          </p:cNvSpPr>
          <p:nvPr/>
        </p:nvSpPr>
        <p:spPr bwMode="auto">
          <a:xfrm>
            <a:off x="2987449" y="2571470"/>
            <a:ext cx="764798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marL="12700" indent="571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just" eaLnBrk="1" hangingPunct="1">
              <a:spcBef>
                <a:spcPct val="0"/>
              </a:spcBef>
            </a:pPr>
            <a:r>
              <a:rPr lang="hu-HU" altLang="hu-HU" sz="1300" dirty="0" err="1" smtClean="0">
                <a:latin typeface="Arial" charset="0"/>
              </a:rPr>
              <a:t>Steering</a:t>
            </a:r>
            <a:r>
              <a:rPr lang="hu-HU" altLang="hu-HU" sz="1300" dirty="0" smtClean="0">
                <a:latin typeface="Arial" charset="0"/>
              </a:rPr>
              <a:t> </a:t>
            </a:r>
            <a:r>
              <a:rPr lang="hu-HU" altLang="hu-HU" sz="1300" dirty="0" err="1" smtClean="0">
                <a:latin typeface="Arial" charset="0"/>
              </a:rPr>
              <a:t>Commity</a:t>
            </a:r>
            <a:endParaRPr lang="hu-HU" altLang="hu-HU" sz="1300" dirty="0">
              <a:latin typeface="Arial" charset="0"/>
            </a:endParaRPr>
          </a:p>
        </p:txBody>
      </p:sp>
      <p:sp>
        <p:nvSpPr>
          <p:cNvPr id="47136" name="object 32"/>
          <p:cNvSpPr>
            <a:spLocks/>
          </p:cNvSpPr>
          <p:nvPr/>
        </p:nvSpPr>
        <p:spPr bwMode="auto">
          <a:xfrm>
            <a:off x="1757109" y="2193117"/>
            <a:ext cx="953810" cy="953909"/>
          </a:xfrm>
          <a:custGeom>
            <a:avLst/>
            <a:gdLst>
              <a:gd name="T0" fmla="*/ 433006 w 864235"/>
              <a:gd name="T1" fmla="*/ 0 h 866139"/>
              <a:gd name="T2" fmla="*/ 362766 w 864235"/>
              <a:gd name="T3" fmla="*/ 5653 h 866139"/>
              <a:gd name="T4" fmla="*/ 296135 w 864235"/>
              <a:gd name="T5" fmla="*/ 22018 h 866139"/>
              <a:gd name="T6" fmla="*/ 234006 w 864235"/>
              <a:gd name="T7" fmla="*/ 48206 h 866139"/>
              <a:gd name="T8" fmla="*/ 177269 w 864235"/>
              <a:gd name="T9" fmla="*/ 83328 h 866139"/>
              <a:gd name="T10" fmla="*/ 126818 w 864235"/>
              <a:gd name="T11" fmla="*/ 126495 h 866139"/>
              <a:gd name="T12" fmla="*/ 83539 w 864235"/>
              <a:gd name="T13" fmla="*/ 176816 h 866139"/>
              <a:gd name="T14" fmla="*/ 48327 w 864235"/>
              <a:gd name="T15" fmla="*/ 233404 h 866139"/>
              <a:gd name="T16" fmla="*/ 22072 w 864235"/>
              <a:gd name="T17" fmla="*/ 295367 h 866139"/>
              <a:gd name="T18" fmla="*/ 5666 w 864235"/>
              <a:gd name="T19" fmla="*/ 361817 h 866139"/>
              <a:gd name="T20" fmla="*/ 0 w 864235"/>
              <a:gd name="T21" fmla="*/ 431864 h 866139"/>
              <a:gd name="T22" fmla="*/ 1436 w 864235"/>
              <a:gd name="T23" fmla="*/ 467282 h 866139"/>
              <a:gd name="T24" fmla="*/ 12583 w 864235"/>
              <a:gd name="T25" fmla="*/ 535643 h 866139"/>
              <a:gd name="T26" fmla="*/ 34024 w 864235"/>
              <a:gd name="T27" fmla="*/ 599960 h 866139"/>
              <a:gd name="T28" fmla="*/ 64868 w 864235"/>
              <a:gd name="T29" fmla="*/ 659346 h 866139"/>
              <a:gd name="T30" fmla="*/ 104226 w 864235"/>
              <a:gd name="T31" fmla="*/ 712913 h 866139"/>
              <a:gd name="T32" fmla="*/ 151202 w 864235"/>
              <a:gd name="T33" fmla="*/ 759767 h 866139"/>
              <a:gd name="T34" fmla="*/ 204908 w 864235"/>
              <a:gd name="T35" fmla="*/ 799023 h 866139"/>
              <a:gd name="T36" fmla="*/ 264452 w 864235"/>
              <a:gd name="T37" fmla="*/ 829790 h 866139"/>
              <a:gd name="T38" fmla="*/ 328943 w 864235"/>
              <a:gd name="T39" fmla="*/ 851177 h 866139"/>
              <a:gd name="T40" fmla="*/ 397491 w 864235"/>
              <a:gd name="T41" fmla="*/ 862298 h 866139"/>
              <a:gd name="T42" fmla="*/ 433006 w 864235"/>
              <a:gd name="T43" fmla="*/ 863730 h 866139"/>
              <a:gd name="T44" fmla="*/ 468523 w 864235"/>
              <a:gd name="T45" fmla="*/ 862298 h 866139"/>
              <a:gd name="T46" fmla="*/ 537071 w 864235"/>
              <a:gd name="T47" fmla="*/ 851177 h 866139"/>
              <a:gd name="T48" fmla="*/ 601562 w 864235"/>
              <a:gd name="T49" fmla="*/ 829790 h 866139"/>
              <a:gd name="T50" fmla="*/ 661105 w 864235"/>
              <a:gd name="T51" fmla="*/ 799023 h 866139"/>
              <a:gd name="T52" fmla="*/ 714811 w 864235"/>
              <a:gd name="T53" fmla="*/ 759767 h 866139"/>
              <a:gd name="T54" fmla="*/ 761788 w 864235"/>
              <a:gd name="T55" fmla="*/ 712913 h 866139"/>
              <a:gd name="T56" fmla="*/ 801144 w 864235"/>
              <a:gd name="T57" fmla="*/ 659346 h 866139"/>
              <a:gd name="T58" fmla="*/ 831988 w 864235"/>
              <a:gd name="T59" fmla="*/ 599960 h 866139"/>
              <a:gd name="T60" fmla="*/ 853431 w 864235"/>
              <a:gd name="T61" fmla="*/ 535643 h 866139"/>
              <a:gd name="T62" fmla="*/ 864578 w 864235"/>
              <a:gd name="T63" fmla="*/ 467282 h 866139"/>
              <a:gd name="T64" fmla="*/ 866014 w 864235"/>
              <a:gd name="T65" fmla="*/ 431864 h 866139"/>
              <a:gd name="T66" fmla="*/ 864578 w 864235"/>
              <a:gd name="T67" fmla="*/ 396447 h 866139"/>
              <a:gd name="T68" fmla="*/ 853431 w 864235"/>
              <a:gd name="T69" fmla="*/ 328087 h 866139"/>
              <a:gd name="T70" fmla="*/ 831988 w 864235"/>
              <a:gd name="T71" fmla="*/ 263769 h 866139"/>
              <a:gd name="T72" fmla="*/ 801144 w 864235"/>
              <a:gd name="T73" fmla="*/ 204382 h 866139"/>
              <a:gd name="T74" fmla="*/ 761788 w 864235"/>
              <a:gd name="T75" fmla="*/ 150817 h 866139"/>
              <a:gd name="T76" fmla="*/ 714811 w 864235"/>
              <a:gd name="T77" fmla="*/ 103962 h 866139"/>
              <a:gd name="T78" fmla="*/ 661105 w 864235"/>
              <a:gd name="T79" fmla="*/ 64707 h 866139"/>
              <a:gd name="T80" fmla="*/ 601562 w 864235"/>
              <a:gd name="T81" fmla="*/ 33940 h 866139"/>
              <a:gd name="T82" fmla="*/ 537071 w 864235"/>
              <a:gd name="T83" fmla="*/ 12551 h 866139"/>
              <a:gd name="T84" fmla="*/ 468523 w 864235"/>
              <a:gd name="T85" fmla="*/ 1430 h 866139"/>
              <a:gd name="T86" fmla="*/ 433006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7" y="5665"/>
                </a:lnTo>
                <a:lnTo>
                  <a:pt x="295483" y="22066"/>
                </a:lnTo>
                <a:lnTo>
                  <a:pt x="233491" y="48312"/>
                </a:lnTo>
                <a:lnTo>
                  <a:pt x="176879" y="83512"/>
                </a:lnTo>
                <a:lnTo>
                  <a:pt x="126538" y="126773"/>
                </a:lnTo>
                <a:lnTo>
                  <a:pt x="83355" y="177206"/>
                </a:lnTo>
                <a:lnTo>
                  <a:pt x="48221" y="233918"/>
                </a:lnTo>
                <a:lnTo>
                  <a:pt x="22024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5" y="536822"/>
                </a:lnTo>
                <a:lnTo>
                  <a:pt x="33950" y="601281"/>
                </a:lnTo>
                <a:lnTo>
                  <a:pt x="64726" y="660798"/>
                </a:lnTo>
                <a:lnTo>
                  <a:pt x="103996" y="714482"/>
                </a:lnTo>
                <a:lnTo>
                  <a:pt x="150869" y="761440"/>
                </a:lnTo>
                <a:lnTo>
                  <a:pt x="204457" y="800782"/>
                </a:lnTo>
                <a:lnTo>
                  <a:pt x="263870" y="831617"/>
                </a:lnTo>
                <a:lnTo>
                  <a:pt x="328219" y="853052"/>
                </a:lnTo>
                <a:lnTo>
                  <a:pt x="396616" y="864197"/>
                </a:lnTo>
                <a:lnTo>
                  <a:pt x="432053" y="865631"/>
                </a:lnTo>
                <a:lnTo>
                  <a:pt x="467491" y="864197"/>
                </a:lnTo>
                <a:lnTo>
                  <a:pt x="535888" y="853052"/>
                </a:lnTo>
                <a:lnTo>
                  <a:pt x="600237" y="831617"/>
                </a:lnTo>
                <a:lnTo>
                  <a:pt x="659650" y="800782"/>
                </a:lnTo>
                <a:lnTo>
                  <a:pt x="713238" y="761440"/>
                </a:lnTo>
                <a:lnTo>
                  <a:pt x="760111" y="714482"/>
                </a:lnTo>
                <a:lnTo>
                  <a:pt x="799381" y="660798"/>
                </a:lnTo>
                <a:lnTo>
                  <a:pt x="830157" y="601281"/>
                </a:lnTo>
                <a:lnTo>
                  <a:pt x="851552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2" y="328809"/>
                </a:lnTo>
                <a:lnTo>
                  <a:pt x="830157" y="264350"/>
                </a:lnTo>
                <a:lnTo>
                  <a:pt x="799381" y="204832"/>
                </a:lnTo>
                <a:lnTo>
                  <a:pt x="760111" y="151149"/>
                </a:lnTo>
                <a:lnTo>
                  <a:pt x="713238" y="104191"/>
                </a:lnTo>
                <a:lnTo>
                  <a:pt x="659650" y="64849"/>
                </a:lnTo>
                <a:lnTo>
                  <a:pt x="600237" y="34014"/>
                </a:lnTo>
                <a:lnTo>
                  <a:pt x="535888" y="12579"/>
                </a:lnTo>
                <a:lnTo>
                  <a:pt x="467491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37" name="object 33"/>
          <p:cNvSpPr>
            <a:spLocks/>
          </p:cNvSpPr>
          <p:nvPr/>
        </p:nvSpPr>
        <p:spPr bwMode="auto">
          <a:xfrm>
            <a:off x="1757109" y="2193117"/>
            <a:ext cx="953810" cy="953909"/>
          </a:xfrm>
          <a:custGeom>
            <a:avLst/>
            <a:gdLst>
              <a:gd name="T0" fmla="*/ 0 w 864235"/>
              <a:gd name="T1" fmla="*/ 431864 h 866139"/>
              <a:gd name="T2" fmla="*/ 5666 w 864235"/>
              <a:gd name="T3" fmla="*/ 361817 h 866139"/>
              <a:gd name="T4" fmla="*/ 22072 w 864235"/>
              <a:gd name="T5" fmla="*/ 295367 h 866139"/>
              <a:gd name="T6" fmla="*/ 48327 w 864235"/>
              <a:gd name="T7" fmla="*/ 233404 h 866139"/>
              <a:gd name="T8" fmla="*/ 83539 w 864235"/>
              <a:gd name="T9" fmla="*/ 176816 h 866139"/>
              <a:gd name="T10" fmla="*/ 126818 w 864235"/>
              <a:gd name="T11" fmla="*/ 126495 h 866139"/>
              <a:gd name="T12" fmla="*/ 177269 w 864235"/>
              <a:gd name="T13" fmla="*/ 83328 h 866139"/>
              <a:gd name="T14" fmla="*/ 234006 w 864235"/>
              <a:gd name="T15" fmla="*/ 48206 h 866139"/>
              <a:gd name="T16" fmla="*/ 296135 w 864235"/>
              <a:gd name="T17" fmla="*/ 22018 h 866139"/>
              <a:gd name="T18" fmla="*/ 362766 w 864235"/>
              <a:gd name="T19" fmla="*/ 5653 h 866139"/>
              <a:gd name="T20" fmla="*/ 433006 w 864235"/>
              <a:gd name="T21" fmla="*/ 0 h 866139"/>
              <a:gd name="T22" fmla="*/ 468523 w 864235"/>
              <a:gd name="T23" fmla="*/ 1430 h 866139"/>
              <a:gd name="T24" fmla="*/ 537071 w 864235"/>
              <a:gd name="T25" fmla="*/ 12551 h 866139"/>
              <a:gd name="T26" fmla="*/ 601562 w 864235"/>
              <a:gd name="T27" fmla="*/ 33940 h 866139"/>
              <a:gd name="T28" fmla="*/ 661105 w 864235"/>
              <a:gd name="T29" fmla="*/ 64707 h 866139"/>
              <a:gd name="T30" fmla="*/ 714811 w 864235"/>
              <a:gd name="T31" fmla="*/ 103962 h 866139"/>
              <a:gd name="T32" fmla="*/ 761788 w 864235"/>
              <a:gd name="T33" fmla="*/ 150817 h 866139"/>
              <a:gd name="T34" fmla="*/ 801144 w 864235"/>
              <a:gd name="T35" fmla="*/ 204382 h 866139"/>
              <a:gd name="T36" fmla="*/ 831988 w 864235"/>
              <a:gd name="T37" fmla="*/ 263769 h 866139"/>
              <a:gd name="T38" fmla="*/ 853431 w 864235"/>
              <a:gd name="T39" fmla="*/ 328087 h 866139"/>
              <a:gd name="T40" fmla="*/ 864578 w 864235"/>
              <a:gd name="T41" fmla="*/ 396447 h 866139"/>
              <a:gd name="T42" fmla="*/ 866014 w 864235"/>
              <a:gd name="T43" fmla="*/ 431864 h 866139"/>
              <a:gd name="T44" fmla="*/ 864578 w 864235"/>
              <a:gd name="T45" fmla="*/ 467282 h 866139"/>
              <a:gd name="T46" fmla="*/ 853431 w 864235"/>
              <a:gd name="T47" fmla="*/ 535643 h 866139"/>
              <a:gd name="T48" fmla="*/ 831988 w 864235"/>
              <a:gd name="T49" fmla="*/ 599960 h 866139"/>
              <a:gd name="T50" fmla="*/ 801144 w 864235"/>
              <a:gd name="T51" fmla="*/ 659346 h 866139"/>
              <a:gd name="T52" fmla="*/ 761788 w 864235"/>
              <a:gd name="T53" fmla="*/ 712913 h 866139"/>
              <a:gd name="T54" fmla="*/ 714811 w 864235"/>
              <a:gd name="T55" fmla="*/ 759767 h 866139"/>
              <a:gd name="T56" fmla="*/ 661105 w 864235"/>
              <a:gd name="T57" fmla="*/ 799023 h 866139"/>
              <a:gd name="T58" fmla="*/ 601562 w 864235"/>
              <a:gd name="T59" fmla="*/ 829790 h 866139"/>
              <a:gd name="T60" fmla="*/ 537071 w 864235"/>
              <a:gd name="T61" fmla="*/ 851177 h 866139"/>
              <a:gd name="T62" fmla="*/ 468523 w 864235"/>
              <a:gd name="T63" fmla="*/ 862298 h 866139"/>
              <a:gd name="T64" fmla="*/ 433006 w 864235"/>
              <a:gd name="T65" fmla="*/ 863730 h 866139"/>
              <a:gd name="T66" fmla="*/ 397491 w 864235"/>
              <a:gd name="T67" fmla="*/ 862298 h 866139"/>
              <a:gd name="T68" fmla="*/ 328943 w 864235"/>
              <a:gd name="T69" fmla="*/ 851177 h 866139"/>
              <a:gd name="T70" fmla="*/ 264452 w 864235"/>
              <a:gd name="T71" fmla="*/ 829790 h 866139"/>
              <a:gd name="T72" fmla="*/ 204908 w 864235"/>
              <a:gd name="T73" fmla="*/ 799023 h 866139"/>
              <a:gd name="T74" fmla="*/ 151202 w 864235"/>
              <a:gd name="T75" fmla="*/ 759767 h 866139"/>
              <a:gd name="T76" fmla="*/ 104226 w 864235"/>
              <a:gd name="T77" fmla="*/ 712913 h 866139"/>
              <a:gd name="T78" fmla="*/ 64868 w 864235"/>
              <a:gd name="T79" fmla="*/ 659346 h 866139"/>
              <a:gd name="T80" fmla="*/ 34024 w 864235"/>
              <a:gd name="T81" fmla="*/ 599960 h 866139"/>
              <a:gd name="T82" fmla="*/ 12583 w 864235"/>
              <a:gd name="T83" fmla="*/ 535643 h 866139"/>
              <a:gd name="T84" fmla="*/ 1436 w 864235"/>
              <a:gd name="T85" fmla="*/ 467282 h 866139"/>
              <a:gd name="T86" fmla="*/ 0 w 864235"/>
              <a:gd name="T87" fmla="*/ 431864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4" y="296017"/>
                </a:lnTo>
                <a:lnTo>
                  <a:pt x="48221" y="233918"/>
                </a:lnTo>
                <a:lnTo>
                  <a:pt x="83355" y="177206"/>
                </a:lnTo>
                <a:lnTo>
                  <a:pt x="126538" y="126773"/>
                </a:lnTo>
                <a:lnTo>
                  <a:pt x="176879" y="83512"/>
                </a:lnTo>
                <a:lnTo>
                  <a:pt x="233491" y="48312"/>
                </a:lnTo>
                <a:lnTo>
                  <a:pt x="295483" y="22066"/>
                </a:lnTo>
                <a:lnTo>
                  <a:pt x="361967" y="5665"/>
                </a:lnTo>
                <a:lnTo>
                  <a:pt x="432053" y="0"/>
                </a:lnTo>
                <a:lnTo>
                  <a:pt x="467491" y="1434"/>
                </a:lnTo>
                <a:lnTo>
                  <a:pt x="535888" y="12579"/>
                </a:lnTo>
                <a:lnTo>
                  <a:pt x="600237" y="34014"/>
                </a:lnTo>
                <a:lnTo>
                  <a:pt x="659650" y="64849"/>
                </a:lnTo>
                <a:lnTo>
                  <a:pt x="713238" y="104191"/>
                </a:lnTo>
                <a:lnTo>
                  <a:pt x="760111" y="151149"/>
                </a:lnTo>
                <a:lnTo>
                  <a:pt x="799381" y="204832"/>
                </a:lnTo>
                <a:lnTo>
                  <a:pt x="830157" y="264350"/>
                </a:lnTo>
                <a:lnTo>
                  <a:pt x="851552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2" y="536822"/>
                </a:lnTo>
                <a:lnTo>
                  <a:pt x="830157" y="601281"/>
                </a:lnTo>
                <a:lnTo>
                  <a:pt x="799381" y="660798"/>
                </a:lnTo>
                <a:lnTo>
                  <a:pt x="760111" y="714482"/>
                </a:lnTo>
                <a:lnTo>
                  <a:pt x="713238" y="761440"/>
                </a:lnTo>
                <a:lnTo>
                  <a:pt x="659650" y="800782"/>
                </a:lnTo>
                <a:lnTo>
                  <a:pt x="600237" y="831617"/>
                </a:lnTo>
                <a:lnTo>
                  <a:pt x="535888" y="853052"/>
                </a:lnTo>
                <a:lnTo>
                  <a:pt x="467491" y="864197"/>
                </a:lnTo>
                <a:lnTo>
                  <a:pt x="432053" y="865631"/>
                </a:lnTo>
                <a:lnTo>
                  <a:pt x="396616" y="864197"/>
                </a:lnTo>
                <a:lnTo>
                  <a:pt x="328219" y="853052"/>
                </a:lnTo>
                <a:lnTo>
                  <a:pt x="263870" y="831617"/>
                </a:lnTo>
                <a:lnTo>
                  <a:pt x="204457" y="800782"/>
                </a:lnTo>
                <a:lnTo>
                  <a:pt x="150869" y="761440"/>
                </a:lnTo>
                <a:lnTo>
                  <a:pt x="103996" y="714482"/>
                </a:lnTo>
                <a:lnTo>
                  <a:pt x="64726" y="660798"/>
                </a:lnTo>
                <a:lnTo>
                  <a:pt x="33950" y="601281"/>
                </a:lnTo>
                <a:lnTo>
                  <a:pt x="12555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34" name="object 34"/>
          <p:cNvSpPr txBox="1"/>
          <p:nvPr/>
        </p:nvSpPr>
        <p:spPr>
          <a:xfrm>
            <a:off x="1888368" y="2480165"/>
            <a:ext cx="691292" cy="39906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35700">
              <a:defRPr/>
            </a:pPr>
            <a:r>
              <a:rPr sz="1300" dirty="0">
                <a:latin typeface="Arial"/>
                <a:cs typeface="Arial"/>
              </a:rPr>
              <a:t>Po</a:t>
            </a:r>
            <a:r>
              <a:rPr sz="1300" spc="-6" dirty="0">
                <a:latin typeface="Arial"/>
                <a:cs typeface="Arial"/>
              </a:rPr>
              <a:t>r</a:t>
            </a:r>
            <a:r>
              <a:rPr sz="1300" dirty="0">
                <a:latin typeface="Arial"/>
                <a:cs typeface="Arial"/>
              </a:rPr>
              <a:t>t</a:t>
            </a:r>
            <a:r>
              <a:rPr sz="1300" spc="11" dirty="0">
                <a:latin typeface="Arial"/>
                <a:cs typeface="Arial"/>
              </a:rPr>
              <a:t>f</a:t>
            </a:r>
            <a:r>
              <a:rPr sz="1300" spc="-6" dirty="0">
                <a:latin typeface="Arial"/>
                <a:cs typeface="Arial"/>
              </a:rPr>
              <a:t>olio</a:t>
            </a:r>
            <a:endParaRPr sz="1300" dirty="0">
              <a:latin typeface="Arial"/>
              <a:cs typeface="Arial"/>
            </a:endParaRPr>
          </a:p>
          <a:p>
            <a:pPr marL="14000">
              <a:defRPr/>
            </a:pPr>
            <a:r>
              <a:rPr sz="1300" spc="-6" dirty="0">
                <a:latin typeface="Arial"/>
                <a:cs typeface="Arial"/>
              </a:rPr>
              <a:t>M</a:t>
            </a:r>
            <a:r>
              <a:rPr sz="1300" dirty="0">
                <a:latin typeface="Arial"/>
                <a:cs typeface="Arial"/>
              </a:rPr>
              <a:t>ana</a:t>
            </a:r>
            <a:r>
              <a:rPr sz="1300" spc="-11" dirty="0">
                <a:latin typeface="Arial"/>
                <a:cs typeface="Arial"/>
              </a:rPr>
              <a:t>g</a:t>
            </a:r>
            <a:r>
              <a:rPr sz="1300" dirty="0">
                <a:latin typeface="Arial"/>
                <a:cs typeface="Arial"/>
              </a:rPr>
              <a:t>er</a:t>
            </a:r>
          </a:p>
        </p:txBody>
      </p:sp>
      <p:sp>
        <p:nvSpPr>
          <p:cNvPr id="47139" name="object 35"/>
          <p:cNvSpPr>
            <a:spLocks/>
          </p:cNvSpPr>
          <p:nvPr/>
        </p:nvSpPr>
        <p:spPr bwMode="auto">
          <a:xfrm>
            <a:off x="1916369" y="3302803"/>
            <a:ext cx="952059" cy="955660"/>
          </a:xfrm>
          <a:custGeom>
            <a:avLst/>
            <a:gdLst>
              <a:gd name="T0" fmla="*/ 431927 w 862964"/>
              <a:gd name="T1" fmla="*/ 0 h 866139"/>
              <a:gd name="T2" fmla="*/ 361851 w 862964"/>
              <a:gd name="T3" fmla="*/ 5673 h 866139"/>
              <a:gd name="T4" fmla="*/ 295382 w 862964"/>
              <a:gd name="T5" fmla="*/ 22098 h 866139"/>
              <a:gd name="T6" fmla="*/ 233405 w 862964"/>
              <a:gd name="T7" fmla="*/ 48383 h 866139"/>
              <a:gd name="T8" fmla="*/ 176810 w 862964"/>
              <a:gd name="T9" fmla="*/ 83634 h 866139"/>
              <a:gd name="T10" fmla="*/ 126485 w 862964"/>
              <a:gd name="T11" fmla="*/ 126959 h 866139"/>
              <a:gd name="T12" fmla="*/ 83319 w 862964"/>
              <a:gd name="T13" fmla="*/ 177466 h 866139"/>
              <a:gd name="T14" fmla="*/ 48198 w 862964"/>
              <a:gd name="T15" fmla="*/ 234262 h 866139"/>
              <a:gd name="T16" fmla="*/ 22013 w 862964"/>
              <a:gd name="T17" fmla="*/ 296452 h 866139"/>
              <a:gd name="T18" fmla="*/ 5651 w 862964"/>
              <a:gd name="T19" fmla="*/ 363146 h 866139"/>
              <a:gd name="T20" fmla="*/ 0 w 862964"/>
              <a:gd name="T21" fmla="*/ 433451 h 866139"/>
              <a:gd name="T22" fmla="*/ 1431 w 862964"/>
              <a:gd name="T23" fmla="*/ 468999 h 866139"/>
              <a:gd name="T24" fmla="*/ 12549 w 862964"/>
              <a:gd name="T25" fmla="*/ 537610 h 866139"/>
              <a:gd name="T26" fmla="*/ 33934 w 862964"/>
              <a:gd name="T27" fmla="*/ 602165 h 866139"/>
              <a:gd name="T28" fmla="*/ 64699 w 862964"/>
              <a:gd name="T29" fmla="*/ 661769 h 866139"/>
              <a:gd name="T30" fmla="*/ 103952 w 862964"/>
              <a:gd name="T31" fmla="*/ 715532 h 866139"/>
              <a:gd name="T32" fmla="*/ 150809 w 862964"/>
              <a:gd name="T33" fmla="*/ 762559 h 866139"/>
              <a:gd name="T34" fmla="*/ 204380 w 862964"/>
              <a:gd name="T35" fmla="*/ 801958 h 866139"/>
              <a:gd name="T36" fmla="*/ 263776 w 862964"/>
              <a:gd name="T37" fmla="*/ 832839 h 866139"/>
              <a:gd name="T38" fmla="*/ 328111 w 862964"/>
              <a:gd name="T39" fmla="*/ 854305 h 866139"/>
              <a:gd name="T40" fmla="*/ 396495 w 862964"/>
              <a:gd name="T41" fmla="*/ 865467 h 866139"/>
              <a:gd name="T42" fmla="*/ 431927 w 862964"/>
              <a:gd name="T43" fmla="*/ 866903 h 866139"/>
              <a:gd name="T44" fmla="*/ 467360 w 862964"/>
              <a:gd name="T45" fmla="*/ 865467 h 866139"/>
              <a:gd name="T46" fmla="*/ 535744 w 862964"/>
              <a:gd name="T47" fmla="*/ 854305 h 866139"/>
              <a:gd name="T48" fmla="*/ 600079 w 862964"/>
              <a:gd name="T49" fmla="*/ 832839 h 866139"/>
              <a:gd name="T50" fmla="*/ 659475 w 862964"/>
              <a:gd name="T51" fmla="*/ 801958 h 866139"/>
              <a:gd name="T52" fmla="*/ 713046 w 862964"/>
              <a:gd name="T53" fmla="*/ 762559 h 866139"/>
              <a:gd name="T54" fmla="*/ 759903 w 862964"/>
              <a:gd name="T55" fmla="*/ 715532 h 866139"/>
              <a:gd name="T56" fmla="*/ 799157 w 862964"/>
              <a:gd name="T57" fmla="*/ 661769 h 866139"/>
              <a:gd name="T58" fmla="*/ 829921 w 862964"/>
              <a:gd name="T59" fmla="*/ 602165 h 866139"/>
              <a:gd name="T60" fmla="*/ 851305 w 862964"/>
              <a:gd name="T61" fmla="*/ 537610 h 866139"/>
              <a:gd name="T62" fmla="*/ 862424 w 862964"/>
              <a:gd name="T63" fmla="*/ 468999 h 866139"/>
              <a:gd name="T64" fmla="*/ 863855 w 862964"/>
              <a:gd name="T65" fmla="*/ 433451 h 866139"/>
              <a:gd name="T66" fmla="*/ 862424 w 862964"/>
              <a:gd name="T67" fmla="*/ 397904 h 866139"/>
              <a:gd name="T68" fmla="*/ 851305 w 862964"/>
              <a:gd name="T69" fmla="*/ 329292 h 866139"/>
              <a:gd name="T70" fmla="*/ 829921 w 862964"/>
              <a:gd name="T71" fmla="*/ 264738 h 866139"/>
              <a:gd name="T72" fmla="*/ 799157 w 862964"/>
              <a:gd name="T73" fmla="*/ 205133 h 866139"/>
              <a:gd name="T74" fmla="*/ 759903 w 862964"/>
              <a:gd name="T75" fmla="*/ 151371 h 866139"/>
              <a:gd name="T76" fmla="*/ 713046 w 862964"/>
              <a:gd name="T77" fmla="*/ 104345 h 866139"/>
              <a:gd name="T78" fmla="*/ 659475 w 862964"/>
              <a:gd name="T79" fmla="*/ 64945 h 866139"/>
              <a:gd name="T80" fmla="*/ 600079 w 862964"/>
              <a:gd name="T81" fmla="*/ 34064 h 866139"/>
              <a:gd name="T82" fmla="*/ 535744 w 862964"/>
              <a:gd name="T83" fmla="*/ 12597 h 866139"/>
              <a:gd name="T84" fmla="*/ 467360 w 862964"/>
              <a:gd name="T85" fmla="*/ 1436 h 866139"/>
              <a:gd name="T86" fmla="*/ 431927 w 862964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6139">
                <a:moveTo>
                  <a:pt x="431291" y="0"/>
                </a:moveTo>
                <a:lnTo>
                  <a:pt x="361319" y="5665"/>
                </a:lnTo>
                <a:lnTo>
                  <a:pt x="294947" y="22066"/>
                </a:lnTo>
                <a:lnTo>
                  <a:pt x="233061" y="48312"/>
                </a:lnTo>
                <a:lnTo>
                  <a:pt x="176550" y="83512"/>
                </a:lnTo>
                <a:lnTo>
                  <a:pt x="126299" y="126773"/>
                </a:lnTo>
                <a:lnTo>
                  <a:pt x="83197" y="177206"/>
                </a:lnTo>
                <a:lnTo>
                  <a:pt x="48128" y="233918"/>
                </a:lnTo>
                <a:lnTo>
                  <a:pt x="21981" y="296017"/>
                </a:lnTo>
                <a:lnTo>
                  <a:pt x="5643" y="362614"/>
                </a:lnTo>
                <a:lnTo>
                  <a:pt x="0" y="432815"/>
                </a:lnTo>
                <a:lnTo>
                  <a:pt x="1429" y="468311"/>
                </a:lnTo>
                <a:lnTo>
                  <a:pt x="12531" y="536822"/>
                </a:lnTo>
                <a:lnTo>
                  <a:pt x="33884" y="601281"/>
                </a:lnTo>
                <a:lnTo>
                  <a:pt x="64603" y="660798"/>
                </a:lnTo>
                <a:lnTo>
                  <a:pt x="103799" y="714482"/>
                </a:lnTo>
                <a:lnTo>
                  <a:pt x="150587" y="761440"/>
                </a:lnTo>
                <a:lnTo>
                  <a:pt x="204079" y="800782"/>
                </a:lnTo>
                <a:lnTo>
                  <a:pt x="263388" y="831617"/>
                </a:lnTo>
                <a:lnTo>
                  <a:pt x="327628" y="853052"/>
                </a:lnTo>
                <a:lnTo>
                  <a:pt x="395911" y="864197"/>
                </a:lnTo>
                <a:lnTo>
                  <a:pt x="431291" y="865631"/>
                </a:lnTo>
                <a:lnTo>
                  <a:pt x="466672" y="864197"/>
                </a:lnTo>
                <a:lnTo>
                  <a:pt x="534955" y="853052"/>
                </a:lnTo>
                <a:lnTo>
                  <a:pt x="599195" y="831617"/>
                </a:lnTo>
                <a:lnTo>
                  <a:pt x="658504" y="800782"/>
                </a:lnTo>
                <a:lnTo>
                  <a:pt x="711996" y="761440"/>
                </a:lnTo>
                <a:lnTo>
                  <a:pt x="758784" y="714482"/>
                </a:lnTo>
                <a:lnTo>
                  <a:pt x="797980" y="660798"/>
                </a:lnTo>
                <a:lnTo>
                  <a:pt x="828699" y="601281"/>
                </a:lnTo>
                <a:lnTo>
                  <a:pt x="850052" y="536822"/>
                </a:lnTo>
                <a:lnTo>
                  <a:pt x="861154" y="468311"/>
                </a:lnTo>
                <a:lnTo>
                  <a:pt x="862583" y="432815"/>
                </a:lnTo>
                <a:lnTo>
                  <a:pt x="861154" y="397320"/>
                </a:lnTo>
                <a:lnTo>
                  <a:pt x="850052" y="328809"/>
                </a:lnTo>
                <a:lnTo>
                  <a:pt x="828699" y="264350"/>
                </a:lnTo>
                <a:lnTo>
                  <a:pt x="797980" y="204832"/>
                </a:lnTo>
                <a:lnTo>
                  <a:pt x="758784" y="151149"/>
                </a:lnTo>
                <a:lnTo>
                  <a:pt x="711996" y="104191"/>
                </a:lnTo>
                <a:lnTo>
                  <a:pt x="658504" y="64849"/>
                </a:lnTo>
                <a:lnTo>
                  <a:pt x="599195" y="34014"/>
                </a:lnTo>
                <a:lnTo>
                  <a:pt x="534955" y="12579"/>
                </a:lnTo>
                <a:lnTo>
                  <a:pt x="466672" y="1434"/>
                </a:lnTo>
                <a:lnTo>
                  <a:pt x="431291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0" name="object 36"/>
          <p:cNvSpPr>
            <a:spLocks/>
          </p:cNvSpPr>
          <p:nvPr/>
        </p:nvSpPr>
        <p:spPr bwMode="auto">
          <a:xfrm>
            <a:off x="1916369" y="3302803"/>
            <a:ext cx="952059" cy="955660"/>
          </a:xfrm>
          <a:custGeom>
            <a:avLst/>
            <a:gdLst>
              <a:gd name="T0" fmla="*/ 0 w 862964"/>
              <a:gd name="T1" fmla="*/ 433451 h 866139"/>
              <a:gd name="T2" fmla="*/ 5651 w 862964"/>
              <a:gd name="T3" fmla="*/ 363146 h 866139"/>
              <a:gd name="T4" fmla="*/ 22013 w 862964"/>
              <a:gd name="T5" fmla="*/ 296452 h 866139"/>
              <a:gd name="T6" fmla="*/ 48198 w 862964"/>
              <a:gd name="T7" fmla="*/ 234262 h 866139"/>
              <a:gd name="T8" fmla="*/ 83319 w 862964"/>
              <a:gd name="T9" fmla="*/ 177466 h 866139"/>
              <a:gd name="T10" fmla="*/ 126485 w 862964"/>
              <a:gd name="T11" fmla="*/ 126959 h 866139"/>
              <a:gd name="T12" fmla="*/ 176810 w 862964"/>
              <a:gd name="T13" fmla="*/ 83634 h 866139"/>
              <a:gd name="T14" fmla="*/ 233405 w 862964"/>
              <a:gd name="T15" fmla="*/ 48383 h 866139"/>
              <a:gd name="T16" fmla="*/ 295382 w 862964"/>
              <a:gd name="T17" fmla="*/ 22098 h 866139"/>
              <a:gd name="T18" fmla="*/ 361851 w 862964"/>
              <a:gd name="T19" fmla="*/ 5673 h 866139"/>
              <a:gd name="T20" fmla="*/ 431927 w 862964"/>
              <a:gd name="T21" fmla="*/ 0 h 866139"/>
              <a:gd name="T22" fmla="*/ 467360 w 862964"/>
              <a:gd name="T23" fmla="*/ 1436 h 866139"/>
              <a:gd name="T24" fmla="*/ 535744 w 862964"/>
              <a:gd name="T25" fmla="*/ 12597 h 866139"/>
              <a:gd name="T26" fmla="*/ 600079 w 862964"/>
              <a:gd name="T27" fmla="*/ 34064 h 866139"/>
              <a:gd name="T28" fmla="*/ 659475 w 862964"/>
              <a:gd name="T29" fmla="*/ 64945 h 866139"/>
              <a:gd name="T30" fmla="*/ 713046 w 862964"/>
              <a:gd name="T31" fmla="*/ 104345 h 866139"/>
              <a:gd name="T32" fmla="*/ 759903 w 862964"/>
              <a:gd name="T33" fmla="*/ 151371 h 866139"/>
              <a:gd name="T34" fmla="*/ 799157 w 862964"/>
              <a:gd name="T35" fmla="*/ 205133 h 866139"/>
              <a:gd name="T36" fmla="*/ 829921 w 862964"/>
              <a:gd name="T37" fmla="*/ 264738 h 866139"/>
              <a:gd name="T38" fmla="*/ 851305 w 862964"/>
              <a:gd name="T39" fmla="*/ 329292 h 866139"/>
              <a:gd name="T40" fmla="*/ 862424 w 862964"/>
              <a:gd name="T41" fmla="*/ 397904 h 866139"/>
              <a:gd name="T42" fmla="*/ 863855 w 862964"/>
              <a:gd name="T43" fmla="*/ 433451 h 866139"/>
              <a:gd name="T44" fmla="*/ 862424 w 862964"/>
              <a:gd name="T45" fmla="*/ 468999 h 866139"/>
              <a:gd name="T46" fmla="*/ 851305 w 862964"/>
              <a:gd name="T47" fmla="*/ 537610 h 866139"/>
              <a:gd name="T48" fmla="*/ 829921 w 862964"/>
              <a:gd name="T49" fmla="*/ 602165 h 866139"/>
              <a:gd name="T50" fmla="*/ 799157 w 862964"/>
              <a:gd name="T51" fmla="*/ 661769 h 866139"/>
              <a:gd name="T52" fmla="*/ 759903 w 862964"/>
              <a:gd name="T53" fmla="*/ 715532 h 866139"/>
              <a:gd name="T54" fmla="*/ 713046 w 862964"/>
              <a:gd name="T55" fmla="*/ 762559 h 866139"/>
              <a:gd name="T56" fmla="*/ 659475 w 862964"/>
              <a:gd name="T57" fmla="*/ 801958 h 866139"/>
              <a:gd name="T58" fmla="*/ 600079 w 862964"/>
              <a:gd name="T59" fmla="*/ 832839 h 866139"/>
              <a:gd name="T60" fmla="*/ 535744 w 862964"/>
              <a:gd name="T61" fmla="*/ 854305 h 866139"/>
              <a:gd name="T62" fmla="*/ 467360 w 862964"/>
              <a:gd name="T63" fmla="*/ 865467 h 866139"/>
              <a:gd name="T64" fmla="*/ 431927 w 862964"/>
              <a:gd name="T65" fmla="*/ 866903 h 866139"/>
              <a:gd name="T66" fmla="*/ 396495 w 862964"/>
              <a:gd name="T67" fmla="*/ 865467 h 866139"/>
              <a:gd name="T68" fmla="*/ 328111 w 862964"/>
              <a:gd name="T69" fmla="*/ 854305 h 866139"/>
              <a:gd name="T70" fmla="*/ 263776 w 862964"/>
              <a:gd name="T71" fmla="*/ 832839 h 866139"/>
              <a:gd name="T72" fmla="*/ 204380 w 862964"/>
              <a:gd name="T73" fmla="*/ 801958 h 866139"/>
              <a:gd name="T74" fmla="*/ 150809 w 862964"/>
              <a:gd name="T75" fmla="*/ 762559 h 866139"/>
              <a:gd name="T76" fmla="*/ 103952 w 862964"/>
              <a:gd name="T77" fmla="*/ 715532 h 866139"/>
              <a:gd name="T78" fmla="*/ 64699 w 862964"/>
              <a:gd name="T79" fmla="*/ 661769 h 866139"/>
              <a:gd name="T80" fmla="*/ 33934 w 862964"/>
              <a:gd name="T81" fmla="*/ 602165 h 866139"/>
              <a:gd name="T82" fmla="*/ 12549 w 862964"/>
              <a:gd name="T83" fmla="*/ 537610 h 866139"/>
              <a:gd name="T84" fmla="*/ 1431 w 862964"/>
              <a:gd name="T85" fmla="*/ 468999 h 866139"/>
              <a:gd name="T86" fmla="*/ 0 w 862964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2964" h="866139">
                <a:moveTo>
                  <a:pt x="0" y="432815"/>
                </a:moveTo>
                <a:lnTo>
                  <a:pt x="5643" y="362614"/>
                </a:lnTo>
                <a:lnTo>
                  <a:pt x="21981" y="296017"/>
                </a:lnTo>
                <a:lnTo>
                  <a:pt x="48128" y="233918"/>
                </a:lnTo>
                <a:lnTo>
                  <a:pt x="83197" y="177206"/>
                </a:lnTo>
                <a:lnTo>
                  <a:pt x="126299" y="126773"/>
                </a:lnTo>
                <a:lnTo>
                  <a:pt x="176550" y="83512"/>
                </a:lnTo>
                <a:lnTo>
                  <a:pt x="233061" y="48312"/>
                </a:lnTo>
                <a:lnTo>
                  <a:pt x="294947" y="22066"/>
                </a:lnTo>
                <a:lnTo>
                  <a:pt x="361319" y="5665"/>
                </a:lnTo>
                <a:lnTo>
                  <a:pt x="431291" y="0"/>
                </a:lnTo>
                <a:lnTo>
                  <a:pt x="466672" y="1434"/>
                </a:lnTo>
                <a:lnTo>
                  <a:pt x="534955" y="12579"/>
                </a:lnTo>
                <a:lnTo>
                  <a:pt x="599195" y="34014"/>
                </a:lnTo>
                <a:lnTo>
                  <a:pt x="658504" y="64849"/>
                </a:lnTo>
                <a:lnTo>
                  <a:pt x="711996" y="104191"/>
                </a:lnTo>
                <a:lnTo>
                  <a:pt x="758784" y="151149"/>
                </a:lnTo>
                <a:lnTo>
                  <a:pt x="797980" y="204832"/>
                </a:lnTo>
                <a:lnTo>
                  <a:pt x="828699" y="264350"/>
                </a:lnTo>
                <a:lnTo>
                  <a:pt x="850052" y="328809"/>
                </a:lnTo>
                <a:lnTo>
                  <a:pt x="861154" y="397320"/>
                </a:lnTo>
                <a:lnTo>
                  <a:pt x="862583" y="432815"/>
                </a:lnTo>
                <a:lnTo>
                  <a:pt x="861154" y="468311"/>
                </a:lnTo>
                <a:lnTo>
                  <a:pt x="850052" y="536822"/>
                </a:lnTo>
                <a:lnTo>
                  <a:pt x="828699" y="601281"/>
                </a:lnTo>
                <a:lnTo>
                  <a:pt x="797980" y="660798"/>
                </a:lnTo>
                <a:lnTo>
                  <a:pt x="758784" y="714482"/>
                </a:lnTo>
                <a:lnTo>
                  <a:pt x="711996" y="761440"/>
                </a:lnTo>
                <a:lnTo>
                  <a:pt x="658504" y="800782"/>
                </a:lnTo>
                <a:lnTo>
                  <a:pt x="599195" y="831617"/>
                </a:lnTo>
                <a:lnTo>
                  <a:pt x="534955" y="853052"/>
                </a:lnTo>
                <a:lnTo>
                  <a:pt x="466672" y="864197"/>
                </a:lnTo>
                <a:lnTo>
                  <a:pt x="431291" y="865631"/>
                </a:lnTo>
                <a:lnTo>
                  <a:pt x="395911" y="864197"/>
                </a:lnTo>
                <a:lnTo>
                  <a:pt x="327628" y="853052"/>
                </a:lnTo>
                <a:lnTo>
                  <a:pt x="263388" y="831617"/>
                </a:lnTo>
                <a:lnTo>
                  <a:pt x="204079" y="800782"/>
                </a:lnTo>
                <a:lnTo>
                  <a:pt x="150587" y="761440"/>
                </a:lnTo>
                <a:lnTo>
                  <a:pt x="103799" y="714482"/>
                </a:lnTo>
                <a:lnTo>
                  <a:pt x="64603" y="660798"/>
                </a:lnTo>
                <a:lnTo>
                  <a:pt x="33884" y="601281"/>
                </a:lnTo>
                <a:lnTo>
                  <a:pt x="12531" y="536822"/>
                </a:lnTo>
                <a:lnTo>
                  <a:pt x="1429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1" name="object 37"/>
          <p:cNvSpPr txBox="1">
            <a:spLocks noChangeArrowheads="1"/>
          </p:cNvSpPr>
          <p:nvPr/>
        </p:nvSpPr>
        <p:spPr bwMode="auto">
          <a:xfrm>
            <a:off x="2047628" y="3593351"/>
            <a:ext cx="691293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63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>
                <a:latin typeface="Arial" charset="0"/>
              </a:rPr>
              <a:t>Program</a:t>
            </a:r>
            <a:r>
              <a:rPr lang="hu-HU" altLang="hu-HU" sz="13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>
                <a:latin typeface="Arial" charset="0"/>
              </a:rPr>
              <a:t>Manager</a:t>
            </a:r>
          </a:p>
        </p:txBody>
      </p:sp>
      <p:sp>
        <p:nvSpPr>
          <p:cNvPr id="47142" name="object 38"/>
          <p:cNvSpPr>
            <a:spLocks/>
          </p:cNvSpPr>
          <p:nvPr/>
        </p:nvSpPr>
        <p:spPr bwMode="auto">
          <a:xfrm>
            <a:off x="2234889" y="4337224"/>
            <a:ext cx="952059" cy="953910"/>
          </a:xfrm>
          <a:custGeom>
            <a:avLst/>
            <a:gdLst>
              <a:gd name="T0" fmla="*/ 431419 w 864235"/>
              <a:gd name="T1" fmla="*/ 0 h 866139"/>
              <a:gd name="T2" fmla="*/ 361435 w 864235"/>
              <a:gd name="T3" fmla="*/ 5653 h 866139"/>
              <a:gd name="T4" fmla="*/ 295049 w 864235"/>
              <a:gd name="T5" fmla="*/ 22019 h 866139"/>
              <a:gd name="T6" fmla="*/ 233148 w 864235"/>
              <a:gd name="T7" fmla="*/ 48207 h 866139"/>
              <a:gd name="T8" fmla="*/ 176619 w 864235"/>
              <a:gd name="T9" fmla="*/ 83330 h 866139"/>
              <a:gd name="T10" fmla="*/ 126352 w 864235"/>
              <a:gd name="T11" fmla="*/ 126498 h 866139"/>
              <a:gd name="T12" fmla="*/ 83233 w 864235"/>
              <a:gd name="T13" fmla="*/ 176819 h 866139"/>
              <a:gd name="T14" fmla="*/ 48151 w 864235"/>
              <a:gd name="T15" fmla="*/ 233406 h 866139"/>
              <a:gd name="T16" fmla="*/ 21992 w 864235"/>
              <a:gd name="T17" fmla="*/ 295370 h 866139"/>
              <a:gd name="T18" fmla="*/ 5646 w 864235"/>
              <a:gd name="T19" fmla="*/ 361819 h 866139"/>
              <a:gd name="T20" fmla="*/ 0 w 864235"/>
              <a:gd name="T21" fmla="*/ 431865 h 866139"/>
              <a:gd name="T22" fmla="*/ 1430 w 864235"/>
              <a:gd name="T23" fmla="*/ 467282 h 866139"/>
              <a:gd name="T24" fmla="*/ 12537 w 864235"/>
              <a:gd name="T25" fmla="*/ 535642 h 866139"/>
              <a:gd name="T26" fmla="*/ 33900 w 864235"/>
              <a:gd name="T27" fmla="*/ 599960 h 866139"/>
              <a:gd name="T28" fmla="*/ 64630 w 864235"/>
              <a:gd name="T29" fmla="*/ 659345 h 866139"/>
              <a:gd name="T30" fmla="*/ 103844 w 864235"/>
              <a:gd name="T31" fmla="*/ 712911 h 866139"/>
              <a:gd name="T32" fmla="*/ 150647 w 864235"/>
              <a:gd name="T33" fmla="*/ 759767 h 866139"/>
              <a:gd name="T34" fmla="*/ 204157 w 864235"/>
              <a:gd name="T35" fmla="*/ 799024 h 866139"/>
              <a:gd name="T36" fmla="*/ 263482 w 864235"/>
              <a:gd name="T37" fmla="*/ 829791 h 866139"/>
              <a:gd name="T38" fmla="*/ 327737 w 864235"/>
              <a:gd name="T39" fmla="*/ 851179 h 866139"/>
              <a:gd name="T40" fmla="*/ 396034 w 864235"/>
              <a:gd name="T41" fmla="*/ 862300 h 866139"/>
              <a:gd name="T42" fmla="*/ 431419 w 864235"/>
              <a:gd name="T43" fmla="*/ 863732 h 866139"/>
              <a:gd name="T44" fmla="*/ 466805 w 864235"/>
              <a:gd name="T45" fmla="*/ 862300 h 866139"/>
              <a:gd name="T46" fmla="*/ 535101 w 864235"/>
              <a:gd name="T47" fmla="*/ 851179 h 866139"/>
              <a:gd name="T48" fmla="*/ 599355 w 864235"/>
              <a:gd name="T49" fmla="*/ 829791 h 866139"/>
              <a:gd name="T50" fmla="*/ 658681 w 864235"/>
              <a:gd name="T51" fmla="*/ 799024 h 866139"/>
              <a:gd name="T52" fmla="*/ 712190 w 864235"/>
              <a:gd name="T53" fmla="*/ 759767 h 866139"/>
              <a:gd name="T54" fmla="*/ 758995 w 864235"/>
              <a:gd name="T55" fmla="*/ 712911 h 866139"/>
              <a:gd name="T56" fmla="*/ 798207 w 864235"/>
              <a:gd name="T57" fmla="*/ 659345 h 866139"/>
              <a:gd name="T58" fmla="*/ 828937 w 864235"/>
              <a:gd name="T59" fmla="*/ 599960 h 866139"/>
              <a:gd name="T60" fmla="*/ 850301 w 864235"/>
              <a:gd name="T61" fmla="*/ 535642 h 866139"/>
              <a:gd name="T62" fmla="*/ 861408 w 864235"/>
              <a:gd name="T63" fmla="*/ 467282 h 866139"/>
              <a:gd name="T64" fmla="*/ 862838 w 864235"/>
              <a:gd name="T65" fmla="*/ 431865 h 866139"/>
              <a:gd name="T66" fmla="*/ 861408 w 864235"/>
              <a:gd name="T67" fmla="*/ 396449 h 866139"/>
              <a:gd name="T68" fmla="*/ 850301 w 864235"/>
              <a:gd name="T69" fmla="*/ 328089 h 866139"/>
              <a:gd name="T70" fmla="*/ 828937 w 864235"/>
              <a:gd name="T71" fmla="*/ 263772 h 866139"/>
              <a:gd name="T72" fmla="*/ 798207 w 864235"/>
              <a:gd name="T73" fmla="*/ 204385 h 866139"/>
              <a:gd name="T74" fmla="*/ 758995 w 864235"/>
              <a:gd name="T75" fmla="*/ 150819 h 866139"/>
              <a:gd name="T76" fmla="*/ 712190 w 864235"/>
              <a:gd name="T77" fmla="*/ 103965 h 866139"/>
              <a:gd name="T78" fmla="*/ 658681 w 864235"/>
              <a:gd name="T79" fmla="*/ 64708 h 866139"/>
              <a:gd name="T80" fmla="*/ 599355 w 864235"/>
              <a:gd name="T81" fmla="*/ 33941 h 866139"/>
              <a:gd name="T82" fmla="*/ 535101 w 864235"/>
              <a:gd name="T83" fmla="*/ 12551 h 866139"/>
              <a:gd name="T84" fmla="*/ 466805 w 864235"/>
              <a:gd name="T85" fmla="*/ 1430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7" y="5665"/>
                </a:lnTo>
                <a:lnTo>
                  <a:pt x="295483" y="22067"/>
                </a:lnTo>
                <a:lnTo>
                  <a:pt x="233491" y="48313"/>
                </a:lnTo>
                <a:lnTo>
                  <a:pt x="176879" y="83514"/>
                </a:lnTo>
                <a:lnTo>
                  <a:pt x="126538" y="126776"/>
                </a:lnTo>
                <a:lnTo>
                  <a:pt x="83355" y="177208"/>
                </a:lnTo>
                <a:lnTo>
                  <a:pt x="48221" y="233920"/>
                </a:lnTo>
                <a:lnTo>
                  <a:pt x="22024" y="296020"/>
                </a:lnTo>
                <a:lnTo>
                  <a:pt x="5654" y="362615"/>
                </a:lnTo>
                <a:lnTo>
                  <a:pt x="0" y="432815"/>
                </a:lnTo>
                <a:lnTo>
                  <a:pt x="1432" y="468310"/>
                </a:lnTo>
                <a:lnTo>
                  <a:pt x="12555" y="536820"/>
                </a:lnTo>
                <a:lnTo>
                  <a:pt x="33950" y="601279"/>
                </a:lnTo>
                <a:lnTo>
                  <a:pt x="64726" y="660796"/>
                </a:lnTo>
                <a:lnTo>
                  <a:pt x="103996" y="714479"/>
                </a:lnTo>
                <a:lnTo>
                  <a:pt x="150869" y="761438"/>
                </a:lnTo>
                <a:lnTo>
                  <a:pt x="204457" y="800781"/>
                </a:lnTo>
                <a:lnTo>
                  <a:pt x="263870" y="831616"/>
                </a:lnTo>
                <a:lnTo>
                  <a:pt x="328219" y="853052"/>
                </a:lnTo>
                <a:lnTo>
                  <a:pt x="396616" y="864197"/>
                </a:lnTo>
                <a:lnTo>
                  <a:pt x="432053" y="865631"/>
                </a:lnTo>
                <a:lnTo>
                  <a:pt x="467491" y="864197"/>
                </a:lnTo>
                <a:lnTo>
                  <a:pt x="535888" y="853052"/>
                </a:lnTo>
                <a:lnTo>
                  <a:pt x="600237" y="831616"/>
                </a:lnTo>
                <a:lnTo>
                  <a:pt x="659650" y="800781"/>
                </a:lnTo>
                <a:lnTo>
                  <a:pt x="713238" y="761438"/>
                </a:lnTo>
                <a:lnTo>
                  <a:pt x="760111" y="714479"/>
                </a:lnTo>
                <a:lnTo>
                  <a:pt x="799381" y="660796"/>
                </a:lnTo>
                <a:lnTo>
                  <a:pt x="830157" y="601279"/>
                </a:lnTo>
                <a:lnTo>
                  <a:pt x="851552" y="536820"/>
                </a:lnTo>
                <a:lnTo>
                  <a:pt x="862675" y="468310"/>
                </a:lnTo>
                <a:lnTo>
                  <a:pt x="864107" y="432815"/>
                </a:lnTo>
                <a:lnTo>
                  <a:pt x="862675" y="397321"/>
                </a:lnTo>
                <a:lnTo>
                  <a:pt x="851552" y="328811"/>
                </a:lnTo>
                <a:lnTo>
                  <a:pt x="830157" y="264352"/>
                </a:lnTo>
                <a:lnTo>
                  <a:pt x="799381" y="204835"/>
                </a:lnTo>
                <a:lnTo>
                  <a:pt x="760111" y="151151"/>
                </a:lnTo>
                <a:lnTo>
                  <a:pt x="713238" y="104193"/>
                </a:lnTo>
                <a:lnTo>
                  <a:pt x="659650" y="64850"/>
                </a:lnTo>
                <a:lnTo>
                  <a:pt x="600237" y="34015"/>
                </a:lnTo>
                <a:lnTo>
                  <a:pt x="535888" y="12579"/>
                </a:lnTo>
                <a:lnTo>
                  <a:pt x="467491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3" name="object 39"/>
          <p:cNvSpPr>
            <a:spLocks/>
          </p:cNvSpPr>
          <p:nvPr/>
        </p:nvSpPr>
        <p:spPr bwMode="auto">
          <a:xfrm>
            <a:off x="2234889" y="4337224"/>
            <a:ext cx="952059" cy="953910"/>
          </a:xfrm>
          <a:custGeom>
            <a:avLst/>
            <a:gdLst>
              <a:gd name="T0" fmla="*/ 0 w 864235"/>
              <a:gd name="T1" fmla="*/ 431865 h 866139"/>
              <a:gd name="T2" fmla="*/ 5646 w 864235"/>
              <a:gd name="T3" fmla="*/ 361819 h 866139"/>
              <a:gd name="T4" fmla="*/ 21992 w 864235"/>
              <a:gd name="T5" fmla="*/ 295370 h 866139"/>
              <a:gd name="T6" fmla="*/ 48151 w 864235"/>
              <a:gd name="T7" fmla="*/ 233406 h 866139"/>
              <a:gd name="T8" fmla="*/ 83233 w 864235"/>
              <a:gd name="T9" fmla="*/ 176819 h 866139"/>
              <a:gd name="T10" fmla="*/ 126352 w 864235"/>
              <a:gd name="T11" fmla="*/ 126498 h 866139"/>
              <a:gd name="T12" fmla="*/ 176619 w 864235"/>
              <a:gd name="T13" fmla="*/ 83330 h 866139"/>
              <a:gd name="T14" fmla="*/ 233148 w 864235"/>
              <a:gd name="T15" fmla="*/ 48207 h 866139"/>
              <a:gd name="T16" fmla="*/ 295049 w 864235"/>
              <a:gd name="T17" fmla="*/ 22019 h 866139"/>
              <a:gd name="T18" fmla="*/ 361435 w 864235"/>
              <a:gd name="T19" fmla="*/ 5653 h 866139"/>
              <a:gd name="T20" fmla="*/ 431419 w 864235"/>
              <a:gd name="T21" fmla="*/ 0 h 866139"/>
              <a:gd name="T22" fmla="*/ 466805 w 864235"/>
              <a:gd name="T23" fmla="*/ 1430 h 866139"/>
              <a:gd name="T24" fmla="*/ 535101 w 864235"/>
              <a:gd name="T25" fmla="*/ 12551 h 866139"/>
              <a:gd name="T26" fmla="*/ 599355 w 864235"/>
              <a:gd name="T27" fmla="*/ 33941 h 866139"/>
              <a:gd name="T28" fmla="*/ 658681 w 864235"/>
              <a:gd name="T29" fmla="*/ 64708 h 866139"/>
              <a:gd name="T30" fmla="*/ 712190 w 864235"/>
              <a:gd name="T31" fmla="*/ 103965 h 866139"/>
              <a:gd name="T32" fmla="*/ 758995 w 864235"/>
              <a:gd name="T33" fmla="*/ 150819 h 866139"/>
              <a:gd name="T34" fmla="*/ 798207 w 864235"/>
              <a:gd name="T35" fmla="*/ 204385 h 866139"/>
              <a:gd name="T36" fmla="*/ 828937 w 864235"/>
              <a:gd name="T37" fmla="*/ 263772 h 866139"/>
              <a:gd name="T38" fmla="*/ 850301 w 864235"/>
              <a:gd name="T39" fmla="*/ 328089 h 866139"/>
              <a:gd name="T40" fmla="*/ 861408 w 864235"/>
              <a:gd name="T41" fmla="*/ 396449 h 866139"/>
              <a:gd name="T42" fmla="*/ 862838 w 864235"/>
              <a:gd name="T43" fmla="*/ 431865 h 866139"/>
              <a:gd name="T44" fmla="*/ 861408 w 864235"/>
              <a:gd name="T45" fmla="*/ 467282 h 866139"/>
              <a:gd name="T46" fmla="*/ 850301 w 864235"/>
              <a:gd name="T47" fmla="*/ 535642 h 866139"/>
              <a:gd name="T48" fmla="*/ 828937 w 864235"/>
              <a:gd name="T49" fmla="*/ 599960 h 866139"/>
              <a:gd name="T50" fmla="*/ 798207 w 864235"/>
              <a:gd name="T51" fmla="*/ 659345 h 866139"/>
              <a:gd name="T52" fmla="*/ 758995 w 864235"/>
              <a:gd name="T53" fmla="*/ 712911 h 866139"/>
              <a:gd name="T54" fmla="*/ 712190 w 864235"/>
              <a:gd name="T55" fmla="*/ 759767 h 866139"/>
              <a:gd name="T56" fmla="*/ 658681 w 864235"/>
              <a:gd name="T57" fmla="*/ 799024 h 866139"/>
              <a:gd name="T58" fmla="*/ 599355 w 864235"/>
              <a:gd name="T59" fmla="*/ 829791 h 866139"/>
              <a:gd name="T60" fmla="*/ 535101 w 864235"/>
              <a:gd name="T61" fmla="*/ 851179 h 866139"/>
              <a:gd name="T62" fmla="*/ 466805 w 864235"/>
              <a:gd name="T63" fmla="*/ 862300 h 866139"/>
              <a:gd name="T64" fmla="*/ 431419 w 864235"/>
              <a:gd name="T65" fmla="*/ 863732 h 866139"/>
              <a:gd name="T66" fmla="*/ 396034 w 864235"/>
              <a:gd name="T67" fmla="*/ 862300 h 866139"/>
              <a:gd name="T68" fmla="*/ 327737 w 864235"/>
              <a:gd name="T69" fmla="*/ 851179 h 866139"/>
              <a:gd name="T70" fmla="*/ 263482 w 864235"/>
              <a:gd name="T71" fmla="*/ 829791 h 866139"/>
              <a:gd name="T72" fmla="*/ 204157 w 864235"/>
              <a:gd name="T73" fmla="*/ 799024 h 866139"/>
              <a:gd name="T74" fmla="*/ 150647 w 864235"/>
              <a:gd name="T75" fmla="*/ 759767 h 866139"/>
              <a:gd name="T76" fmla="*/ 103844 w 864235"/>
              <a:gd name="T77" fmla="*/ 712911 h 866139"/>
              <a:gd name="T78" fmla="*/ 64630 w 864235"/>
              <a:gd name="T79" fmla="*/ 659345 h 866139"/>
              <a:gd name="T80" fmla="*/ 33900 w 864235"/>
              <a:gd name="T81" fmla="*/ 599960 h 866139"/>
              <a:gd name="T82" fmla="*/ 12537 w 864235"/>
              <a:gd name="T83" fmla="*/ 535642 h 866139"/>
              <a:gd name="T84" fmla="*/ 1430 w 864235"/>
              <a:gd name="T85" fmla="*/ 467282 h 866139"/>
              <a:gd name="T86" fmla="*/ 0 w 864235"/>
              <a:gd name="T87" fmla="*/ 431865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5"/>
                </a:lnTo>
                <a:lnTo>
                  <a:pt x="22024" y="296020"/>
                </a:lnTo>
                <a:lnTo>
                  <a:pt x="48221" y="233920"/>
                </a:lnTo>
                <a:lnTo>
                  <a:pt x="83355" y="177208"/>
                </a:lnTo>
                <a:lnTo>
                  <a:pt x="126538" y="126776"/>
                </a:lnTo>
                <a:lnTo>
                  <a:pt x="176879" y="83514"/>
                </a:lnTo>
                <a:lnTo>
                  <a:pt x="233491" y="48313"/>
                </a:lnTo>
                <a:lnTo>
                  <a:pt x="295483" y="22067"/>
                </a:lnTo>
                <a:lnTo>
                  <a:pt x="361967" y="5665"/>
                </a:lnTo>
                <a:lnTo>
                  <a:pt x="432053" y="0"/>
                </a:lnTo>
                <a:lnTo>
                  <a:pt x="467491" y="1434"/>
                </a:lnTo>
                <a:lnTo>
                  <a:pt x="535888" y="12579"/>
                </a:lnTo>
                <a:lnTo>
                  <a:pt x="600237" y="34015"/>
                </a:lnTo>
                <a:lnTo>
                  <a:pt x="659650" y="64850"/>
                </a:lnTo>
                <a:lnTo>
                  <a:pt x="713238" y="104193"/>
                </a:lnTo>
                <a:lnTo>
                  <a:pt x="760111" y="151151"/>
                </a:lnTo>
                <a:lnTo>
                  <a:pt x="799381" y="204835"/>
                </a:lnTo>
                <a:lnTo>
                  <a:pt x="830157" y="264352"/>
                </a:lnTo>
                <a:lnTo>
                  <a:pt x="851552" y="328811"/>
                </a:lnTo>
                <a:lnTo>
                  <a:pt x="862675" y="397321"/>
                </a:lnTo>
                <a:lnTo>
                  <a:pt x="864107" y="432815"/>
                </a:lnTo>
                <a:lnTo>
                  <a:pt x="862675" y="468310"/>
                </a:lnTo>
                <a:lnTo>
                  <a:pt x="851552" y="536820"/>
                </a:lnTo>
                <a:lnTo>
                  <a:pt x="830157" y="601279"/>
                </a:lnTo>
                <a:lnTo>
                  <a:pt x="799381" y="660796"/>
                </a:lnTo>
                <a:lnTo>
                  <a:pt x="760111" y="714479"/>
                </a:lnTo>
                <a:lnTo>
                  <a:pt x="713238" y="761438"/>
                </a:lnTo>
                <a:lnTo>
                  <a:pt x="659650" y="800781"/>
                </a:lnTo>
                <a:lnTo>
                  <a:pt x="600237" y="831616"/>
                </a:lnTo>
                <a:lnTo>
                  <a:pt x="535888" y="853052"/>
                </a:lnTo>
                <a:lnTo>
                  <a:pt x="467491" y="864197"/>
                </a:lnTo>
                <a:lnTo>
                  <a:pt x="432053" y="865631"/>
                </a:lnTo>
                <a:lnTo>
                  <a:pt x="396616" y="864197"/>
                </a:lnTo>
                <a:lnTo>
                  <a:pt x="328219" y="853052"/>
                </a:lnTo>
                <a:lnTo>
                  <a:pt x="263870" y="831616"/>
                </a:lnTo>
                <a:lnTo>
                  <a:pt x="204457" y="800781"/>
                </a:lnTo>
                <a:lnTo>
                  <a:pt x="150869" y="761438"/>
                </a:lnTo>
                <a:lnTo>
                  <a:pt x="103996" y="714479"/>
                </a:lnTo>
                <a:lnTo>
                  <a:pt x="64726" y="660796"/>
                </a:lnTo>
                <a:lnTo>
                  <a:pt x="33950" y="601279"/>
                </a:lnTo>
                <a:lnTo>
                  <a:pt x="12555" y="536820"/>
                </a:lnTo>
                <a:lnTo>
                  <a:pt x="1432" y="468310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0" name="object 40"/>
          <p:cNvSpPr txBox="1"/>
          <p:nvPr/>
        </p:nvSpPr>
        <p:spPr>
          <a:xfrm>
            <a:off x="2506156" y="4727540"/>
            <a:ext cx="411276" cy="20005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1300" spc="-11" dirty="0">
                <a:latin typeface="Arial"/>
                <a:cs typeface="Arial"/>
              </a:rPr>
              <a:t>P</a:t>
            </a:r>
            <a:r>
              <a:rPr sz="1300" spc="-6" dirty="0">
                <a:latin typeface="Arial"/>
                <a:cs typeface="Arial"/>
              </a:rPr>
              <a:t>M</a:t>
            </a:r>
            <a:r>
              <a:rPr sz="1300" spc="-11" dirty="0">
                <a:latin typeface="Arial"/>
                <a:cs typeface="Arial"/>
              </a:rPr>
              <a:t>O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47145" name="object 41"/>
          <p:cNvSpPr>
            <a:spLocks/>
          </p:cNvSpPr>
          <p:nvPr/>
        </p:nvSpPr>
        <p:spPr bwMode="auto">
          <a:xfrm>
            <a:off x="6044874" y="2384815"/>
            <a:ext cx="952059" cy="953909"/>
          </a:xfrm>
          <a:custGeom>
            <a:avLst/>
            <a:gdLst>
              <a:gd name="T0" fmla="*/ 431419 w 864235"/>
              <a:gd name="T1" fmla="*/ 0 h 866139"/>
              <a:gd name="T2" fmla="*/ 361437 w 864235"/>
              <a:gd name="T3" fmla="*/ 5653 h 866139"/>
              <a:gd name="T4" fmla="*/ 295053 w 864235"/>
              <a:gd name="T5" fmla="*/ 22018 h 866139"/>
              <a:gd name="T6" fmla="*/ 233152 w 864235"/>
              <a:gd name="T7" fmla="*/ 48206 h 866139"/>
              <a:gd name="T8" fmla="*/ 176623 w 864235"/>
              <a:gd name="T9" fmla="*/ 83328 h 866139"/>
              <a:gd name="T10" fmla="*/ 126355 w 864235"/>
              <a:gd name="T11" fmla="*/ 126495 h 866139"/>
              <a:gd name="T12" fmla="*/ 83236 w 864235"/>
              <a:gd name="T13" fmla="*/ 176816 h 866139"/>
              <a:gd name="T14" fmla="*/ 48152 w 864235"/>
              <a:gd name="T15" fmla="*/ 233404 h 866139"/>
              <a:gd name="T16" fmla="*/ 21993 w 864235"/>
              <a:gd name="T17" fmla="*/ 295367 h 866139"/>
              <a:gd name="T18" fmla="*/ 5646 w 864235"/>
              <a:gd name="T19" fmla="*/ 361817 h 866139"/>
              <a:gd name="T20" fmla="*/ 0 w 864235"/>
              <a:gd name="T21" fmla="*/ 431864 h 866139"/>
              <a:gd name="T22" fmla="*/ 1430 w 864235"/>
              <a:gd name="T23" fmla="*/ 467282 h 866139"/>
              <a:gd name="T24" fmla="*/ 12538 w 864235"/>
              <a:gd name="T25" fmla="*/ 535643 h 866139"/>
              <a:gd name="T26" fmla="*/ 33901 w 864235"/>
              <a:gd name="T27" fmla="*/ 599960 h 866139"/>
              <a:gd name="T28" fmla="*/ 64632 w 864235"/>
              <a:gd name="T29" fmla="*/ 659346 h 866139"/>
              <a:gd name="T30" fmla="*/ 103847 w 864235"/>
              <a:gd name="T31" fmla="*/ 712913 h 866139"/>
              <a:gd name="T32" fmla="*/ 150651 w 864235"/>
              <a:gd name="T33" fmla="*/ 759767 h 866139"/>
              <a:gd name="T34" fmla="*/ 204161 w 864235"/>
              <a:gd name="T35" fmla="*/ 799023 h 866139"/>
              <a:gd name="T36" fmla="*/ 263486 w 864235"/>
              <a:gd name="T37" fmla="*/ 829790 h 866139"/>
              <a:gd name="T38" fmla="*/ 327740 w 864235"/>
              <a:gd name="T39" fmla="*/ 851177 h 866139"/>
              <a:gd name="T40" fmla="*/ 396035 w 864235"/>
              <a:gd name="T41" fmla="*/ 862298 h 866139"/>
              <a:gd name="T42" fmla="*/ 431419 w 864235"/>
              <a:gd name="T43" fmla="*/ 863730 h 866139"/>
              <a:gd name="T44" fmla="*/ 466804 w 864235"/>
              <a:gd name="T45" fmla="*/ 862298 h 866139"/>
              <a:gd name="T46" fmla="*/ 535098 w 864235"/>
              <a:gd name="T47" fmla="*/ 851177 h 866139"/>
              <a:gd name="T48" fmla="*/ 599351 w 864235"/>
              <a:gd name="T49" fmla="*/ 829790 h 866139"/>
              <a:gd name="T50" fmla="*/ 658677 w 864235"/>
              <a:gd name="T51" fmla="*/ 799023 h 866139"/>
              <a:gd name="T52" fmla="*/ 712186 w 864235"/>
              <a:gd name="T53" fmla="*/ 759767 h 866139"/>
              <a:gd name="T54" fmla="*/ 758992 w 864235"/>
              <a:gd name="T55" fmla="*/ 712913 h 866139"/>
              <a:gd name="T56" fmla="*/ 798205 w 864235"/>
              <a:gd name="T57" fmla="*/ 659346 h 866139"/>
              <a:gd name="T58" fmla="*/ 828936 w 864235"/>
              <a:gd name="T59" fmla="*/ 599960 h 866139"/>
              <a:gd name="T60" fmla="*/ 850300 w 864235"/>
              <a:gd name="T61" fmla="*/ 535643 h 866139"/>
              <a:gd name="T62" fmla="*/ 861408 w 864235"/>
              <a:gd name="T63" fmla="*/ 467282 h 866139"/>
              <a:gd name="T64" fmla="*/ 862838 w 864235"/>
              <a:gd name="T65" fmla="*/ 431864 h 866139"/>
              <a:gd name="T66" fmla="*/ 861408 w 864235"/>
              <a:gd name="T67" fmla="*/ 396447 h 866139"/>
              <a:gd name="T68" fmla="*/ 850300 w 864235"/>
              <a:gd name="T69" fmla="*/ 328087 h 866139"/>
              <a:gd name="T70" fmla="*/ 828936 w 864235"/>
              <a:gd name="T71" fmla="*/ 263769 h 866139"/>
              <a:gd name="T72" fmla="*/ 798205 w 864235"/>
              <a:gd name="T73" fmla="*/ 204382 h 866139"/>
              <a:gd name="T74" fmla="*/ 758992 w 864235"/>
              <a:gd name="T75" fmla="*/ 150817 h 866139"/>
              <a:gd name="T76" fmla="*/ 712186 w 864235"/>
              <a:gd name="T77" fmla="*/ 103962 h 866139"/>
              <a:gd name="T78" fmla="*/ 658677 w 864235"/>
              <a:gd name="T79" fmla="*/ 64707 h 866139"/>
              <a:gd name="T80" fmla="*/ 599351 w 864235"/>
              <a:gd name="T81" fmla="*/ 33940 h 866139"/>
              <a:gd name="T82" fmla="*/ 535098 w 864235"/>
              <a:gd name="T83" fmla="*/ 12551 h 866139"/>
              <a:gd name="T84" fmla="*/ 466804 w 864235"/>
              <a:gd name="T85" fmla="*/ 1430 h 866139"/>
              <a:gd name="T86" fmla="*/ 431419 w 864235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432053" y="0"/>
                </a:moveTo>
                <a:lnTo>
                  <a:pt x="361969" y="5665"/>
                </a:lnTo>
                <a:lnTo>
                  <a:pt x="295487" y="22066"/>
                </a:lnTo>
                <a:lnTo>
                  <a:pt x="233495" y="48312"/>
                </a:lnTo>
                <a:lnTo>
                  <a:pt x="176883" y="83512"/>
                </a:lnTo>
                <a:lnTo>
                  <a:pt x="126541" y="126773"/>
                </a:lnTo>
                <a:lnTo>
                  <a:pt x="83358" y="177206"/>
                </a:lnTo>
                <a:lnTo>
                  <a:pt x="48222" y="233918"/>
                </a:lnTo>
                <a:lnTo>
                  <a:pt x="22025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6" y="536822"/>
                </a:lnTo>
                <a:lnTo>
                  <a:pt x="33951" y="601281"/>
                </a:lnTo>
                <a:lnTo>
                  <a:pt x="64728" y="660798"/>
                </a:lnTo>
                <a:lnTo>
                  <a:pt x="103999" y="714482"/>
                </a:lnTo>
                <a:lnTo>
                  <a:pt x="150873" y="761440"/>
                </a:lnTo>
                <a:lnTo>
                  <a:pt x="204461" y="800782"/>
                </a:lnTo>
                <a:lnTo>
                  <a:pt x="263874" y="831617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6" name="object 42"/>
          <p:cNvSpPr>
            <a:spLocks/>
          </p:cNvSpPr>
          <p:nvPr/>
        </p:nvSpPr>
        <p:spPr bwMode="auto">
          <a:xfrm>
            <a:off x="6059831" y="2397525"/>
            <a:ext cx="952059" cy="953909"/>
          </a:xfrm>
          <a:custGeom>
            <a:avLst/>
            <a:gdLst>
              <a:gd name="T0" fmla="*/ 0 w 864235"/>
              <a:gd name="T1" fmla="*/ 431864 h 866139"/>
              <a:gd name="T2" fmla="*/ 5646 w 864235"/>
              <a:gd name="T3" fmla="*/ 361817 h 866139"/>
              <a:gd name="T4" fmla="*/ 21993 w 864235"/>
              <a:gd name="T5" fmla="*/ 295367 h 866139"/>
              <a:gd name="T6" fmla="*/ 48152 w 864235"/>
              <a:gd name="T7" fmla="*/ 233404 h 866139"/>
              <a:gd name="T8" fmla="*/ 83236 w 864235"/>
              <a:gd name="T9" fmla="*/ 176816 h 866139"/>
              <a:gd name="T10" fmla="*/ 126355 w 864235"/>
              <a:gd name="T11" fmla="*/ 126495 h 866139"/>
              <a:gd name="T12" fmla="*/ 176623 w 864235"/>
              <a:gd name="T13" fmla="*/ 83328 h 866139"/>
              <a:gd name="T14" fmla="*/ 233152 w 864235"/>
              <a:gd name="T15" fmla="*/ 48206 h 866139"/>
              <a:gd name="T16" fmla="*/ 295053 w 864235"/>
              <a:gd name="T17" fmla="*/ 22018 h 866139"/>
              <a:gd name="T18" fmla="*/ 361437 w 864235"/>
              <a:gd name="T19" fmla="*/ 5653 h 866139"/>
              <a:gd name="T20" fmla="*/ 431419 w 864235"/>
              <a:gd name="T21" fmla="*/ 0 h 866139"/>
              <a:gd name="T22" fmla="*/ 466804 w 864235"/>
              <a:gd name="T23" fmla="*/ 1430 h 866139"/>
              <a:gd name="T24" fmla="*/ 535098 w 864235"/>
              <a:gd name="T25" fmla="*/ 12551 h 866139"/>
              <a:gd name="T26" fmla="*/ 599351 w 864235"/>
              <a:gd name="T27" fmla="*/ 33940 h 866139"/>
              <a:gd name="T28" fmla="*/ 658677 w 864235"/>
              <a:gd name="T29" fmla="*/ 64707 h 866139"/>
              <a:gd name="T30" fmla="*/ 712186 w 864235"/>
              <a:gd name="T31" fmla="*/ 103962 h 866139"/>
              <a:gd name="T32" fmla="*/ 758992 w 864235"/>
              <a:gd name="T33" fmla="*/ 150817 h 866139"/>
              <a:gd name="T34" fmla="*/ 798205 w 864235"/>
              <a:gd name="T35" fmla="*/ 204382 h 866139"/>
              <a:gd name="T36" fmla="*/ 828936 w 864235"/>
              <a:gd name="T37" fmla="*/ 263769 h 866139"/>
              <a:gd name="T38" fmla="*/ 850300 w 864235"/>
              <a:gd name="T39" fmla="*/ 328087 h 866139"/>
              <a:gd name="T40" fmla="*/ 861408 w 864235"/>
              <a:gd name="T41" fmla="*/ 396447 h 866139"/>
              <a:gd name="T42" fmla="*/ 862838 w 864235"/>
              <a:gd name="T43" fmla="*/ 431864 h 866139"/>
              <a:gd name="T44" fmla="*/ 861408 w 864235"/>
              <a:gd name="T45" fmla="*/ 467282 h 866139"/>
              <a:gd name="T46" fmla="*/ 850300 w 864235"/>
              <a:gd name="T47" fmla="*/ 535643 h 866139"/>
              <a:gd name="T48" fmla="*/ 828936 w 864235"/>
              <a:gd name="T49" fmla="*/ 599960 h 866139"/>
              <a:gd name="T50" fmla="*/ 798205 w 864235"/>
              <a:gd name="T51" fmla="*/ 659346 h 866139"/>
              <a:gd name="T52" fmla="*/ 758992 w 864235"/>
              <a:gd name="T53" fmla="*/ 712913 h 866139"/>
              <a:gd name="T54" fmla="*/ 712186 w 864235"/>
              <a:gd name="T55" fmla="*/ 759767 h 866139"/>
              <a:gd name="T56" fmla="*/ 658677 w 864235"/>
              <a:gd name="T57" fmla="*/ 799023 h 866139"/>
              <a:gd name="T58" fmla="*/ 599351 w 864235"/>
              <a:gd name="T59" fmla="*/ 829790 h 866139"/>
              <a:gd name="T60" fmla="*/ 535098 w 864235"/>
              <a:gd name="T61" fmla="*/ 851177 h 866139"/>
              <a:gd name="T62" fmla="*/ 466804 w 864235"/>
              <a:gd name="T63" fmla="*/ 862298 h 866139"/>
              <a:gd name="T64" fmla="*/ 431419 w 864235"/>
              <a:gd name="T65" fmla="*/ 863730 h 866139"/>
              <a:gd name="T66" fmla="*/ 396035 w 864235"/>
              <a:gd name="T67" fmla="*/ 862298 h 866139"/>
              <a:gd name="T68" fmla="*/ 327740 w 864235"/>
              <a:gd name="T69" fmla="*/ 851177 h 866139"/>
              <a:gd name="T70" fmla="*/ 263486 w 864235"/>
              <a:gd name="T71" fmla="*/ 829790 h 866139"/>
              <a:gd name="T72" fmla="*/ 204161 w 864235"/>
              <a:gd name="T73" fmla="*/ 799023 h 866139"/>
              <a:gd name="T74" fmla="*/ 150651 w 864235"/>
              <a:gd name="T75" fmla="*/ 759767 h 866139"/>
              <a:gd name="T76" fmla="*/ 103847 w 864235"/>
              <a:gd name="T77" fmla="*/ 712913 h 866139"/>
              <a:gd name="T78" fmla="*/ 64632 w 864235"/>
              <a:gd name="T79" fmla="*/ 659346 h 866139"/>
              <a:gd name="T80" fmla="*/ 33901 w 864235"/>
              <a:gd name="T81" fmla="*/ 599960 h 866139"/>
              <a:gd name="T82" fmla="*/ 12538 w 864235"/>
              <a:gd name="T83" fmla="*/ 535643 h 866139"/>
              <a:gd name="T84" fmla="*/ 1430 w 864235"/>
              <a:gd name="T85" fmla="*/ 467282 h 866139"/>
              <a:gd name="T86" fmla="*/ 0 w 864235"/>
              <a:gd name="T87" fmla="*/ 431864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5" h="866139">
                <a:moveTo>
                  <a:pt x="0" y="432815"/>
                </a:moveTo>
                <a:lnTo>
                  <a:pt x="5654" y="362614"/>
                </a:lnTo>
                <a:lnTo>
                  <a:pt x="22025" y="296017"/>
                </a:lnTo>
                <a:lnTo>
                  <a:pt x="48222" y="233918"/>
                </a:lnTo>
                <a:lnTo>
                  <a:pt x="83358" y="177206"/>
                </a:lnTo>
                <a:lnTo>
                  <a:pt x="126541" y="126773"/>
                </a:lnTo>
                <a:lnTo>
                  <a:pt x="176883" y="83512"/>
                </a:lnTo>
                <a:lnTo>
                  <a:pt x="233495" y="48312"/>
                </a:lnTo>
                <a:lnTo>
                  <a:pt x="295487" y="22066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7"/>
                </a:lnTo>
                <a:lnTo>
                  <a:pt x="204461" y="800782"/>
                </a:lnTo>
                <a:lnTo>
                  <a:pt x="150873" y="761440"/>
                </a:lnTo>
                <a:lnTo>
                  <a:pt x="103999" y="714482"/>
                </a:lnTo>
                <a:lnTo>
                  <a:pt x="64728" y="660798"/>
                </a:lnTo>
                <a:lnTo>
                  <a:pt x="33951" y="601281"/>
                </a:lnTo>
                <a:lnTo>
                  <a:pt x="12556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3" name="object 43"/>
          <p:cNvSpPr txBox="1"/>
          <p:nvPr/>
        </p:nvSpPr>
        <p:spPr>
          <a:xfrm>
            <a:off x="6144631" y="2662235"/>
            <a:ext cx="852302" cy="39906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algn="ctr">
              <a:defRPr/>
            </a:pPr>
            <a:r>
              <a:rPr sz="1300" dirty="0">
                <a:latin typeface="Arial"/>
                <a:cs typeface="Arial"/>
              </a:rPr>
              <a:t>Op</a:t>
            </a:r>
            <a:r>
              <a:rPr sz="1300" spc="-6" dirty="0">
                <a:latin typeface="Arial"/>
                <a:cs typeface="Arial"/>
              </a:rPr>
              <a:t>era</a:t>
            </a:r>
            <a:r>
              <a:rPr sz="1300" dirty="0">
                <a:latin typeface="Arial"/>
                <a:cs typeface="Arial"/>
              </a:rPr>
              <a:t>t</a:t>
            </a:r>
            <a:r>
              <a:rPr sz="1300" spc="-6" dirty="0">
                <a:latin typeface="Arial"/>
                <a:cs typeface="Arial"/>
              </a:rPr>
              <a:t>io</a:t>
            </a:r>
            <a:r>
              <a:rPr sz="1300" spc="-11" dirty="0">
                <a:latin typeface="Arial"/>
                <a:cs typeface="Arial"/>
              </a:rPr>
              <a:t>n</a:t>
            </a:r>
            <a:r>
              <a:rPr sz="1300" dirty="0">
                <a:latin typeface="Arial"/>
                <a:cs typeface="Arial"/>
              </a:rPr>
              <a:t>s</a:t>
            </a:r>
          </a:p>
          <a:p>
            <a:pPr algn="ctr">
              <a:defRPr/>
            </a:pPr>
            <a:r>
              <a:rPr sz="1300" spc="-6" dirty="0">
                <a:latin typeface="Arial"/>
                <a:cs typeface="Arial"/>
              </a:rPr>
              <a:t>M</a:t>
            </a:r>
            <a:r>
              <a:rPr sz="1300" spc="-11" dirty="0">
                <a:latin typeface="Arial"/>
                <a:cs typeface="Arial"/>
              </a:rPr>
              <a:t>g</a:t>
            </a:r>
            <a:r>
              <a:rPr sz="1300" spc="6" dirty="0">
                <a:latin typeface="Arial"/>
                <a:cs typeface="Arial"/>
              </a:rPr>
              <a:t>m</a:t>
            </a:r>
            <a:r>
              <a:rPr sz="1300" spc="-6" dirty="0">
                <a:latin typeface="Arial"/>
                <a:cs typeface="Arial"/>
              </a:rPr>
              <a:t>t.</a:t>
            </a:r>
            <a:endParaRPr sz="1300" dirty="0">
              <a:latin typeface="Arial"/>
              <a:cs typeface="Arial"/>
            </a:endParaRPr>
          </a:p>
        </p:txBody>
      </p:sp>
      <p:sp>
        <p:nvSpPr>
          <p:cNvPr id="47148" name="object 44"/>
          <p:cNvSpPr>
            <a:spLocks/>
          </p:cNvSpPr>
          <p:nvPr/>
        </p:nvSpPr>
        <p:spPr bwMode="auto">
          <a:xfrm>
            <a:off x="7234949" y="2273630"/>
            <a:ext cx="952059" cy="952159"/>
          </a:xfrm>
          <a:custGeom>
            <a:avLst/>
            <a:gdLst>
              <a:gd name="T0" fmla="*/ 431419 w 864234"/>
              <a:gd name="T1" fmla="*/ 0 h 864235"/>
              <a:gd name="T2" fmla="*/ 361438 w 864234"/>
              <a:gd name="T3" fmla="*/ 5646 h 864235"/>
              <a:gd name="T4" fmla="*/ 295053 w 864234"/>
              <a:gd name="T5" fmla="*/ 21993 h 864235"/>
              <a:gd name="T6" fmla="*/ 233153 w 864234"/>
              <a:gd name="T7" fmla="*/ 48152 h 864235"/>
              <a:gd name="T8" fmla="*/ 176623 w 864234"/>
              <a:gd name="T9" fmla="*/ 83236 h 864235"/>
              <a:gd name="T10" fmla="*/ 126355 w 864234"/>
              <a:gd name="T11" fmla="*/ 126355 h 864235"/>
              <a:gd name="T12" fmla="*/ 83236 w 864234"/>
              <a:gd name="T13" fmla="*/ 176623 h 864235"/>
              <a:gd name="T14" fmla="*/ 48152 w 864234"/>
              <a:gd name="T15" fmla="*/ 233152 h 864235"/>
              <a:gd name="T16" fmla="*/ 21993 w 864234"/>
              <a:gd name="T17" fmla="*/ 295053 h 864235"/>
              <a:gd name="T18" fmla="*/ 5646 w 864234"/>
              <a:gd name="T19" fmla="*/ 361437 h 864235"/>
              <a:gd name="T20" fmla="*/ 0 w 864234"/>
              <a:gd name="T21" fmla="*/ 431419 h 864235"/>
              <a:gd name="T22" fmla="*/ 1430 w 864234"/>
              <a:gd name="T23" fmla="*/ 466804 h 864235"/>
              <a:gd name="T24" fmla="*/ 12538 w 864234"/>
              <a:gd name="T25" fmla="*/ 535098 h 864235"/>
              <a:gd name="T26" fmla="*/ 33901 w 864234"/>
              <a:gd name="T27" fmla="*/ 599351 h 864235"/>
              <a:gd name="T28" fmla="*/ 64634 w 864234"/>
              <a:gd name="T29" fmla="*/ 658677 h 864235"/>
              <a:gd name="T30" fmla="*/ 103847 w 864234"/>
              <a:gd name="T31" fmla="*/ 712186 h 864235"/>
              <a:gd name="T32" fmla="*/ 150651 w 864234"/>
              <a:gd name="T33" fmla="*/ 758992 h 864235"/>
              <a:gd name="T34" fmla="*/ 204161 w 864234"/>
              <a:gd name="T35" fmla="*/ 798205 h 864235"/>
              <a:gd name="T36" fmla="*/ 263487 w 864234"/>
              <a:gd name="T37" fmla="*/ 828936 h 864235"/>
              <a:gd name="T38" fmla="*/ 327740 w 864234"/>
              <a:gd name="T39" fmla="*/ 850300 h 864235"/>
              <a:gd name="T40" fmla="*/ 396035 w 864234"/>
              <a:gd name="T41" fmla="*/ 861408 h 864235"/>
              <a:gd name="T42" fmla="*/ 431419 w 864234"/>
              <a:gd name="T43" fmla="*/ 862838 h 864235"/>
              <a:gd name="T44" fmla="*/ 466804 w 864234"/>
              <a:gd name="T45" fmla="*/ 861408 h 864235"/>
              <a:gd name="T46" fmla="*/ 535099 w 864234"/>
              <a:gd name="T47" fmla="*/ 850300 h 864235"/>
              <a:gd name="T48" fmla="*/ 599353 w 864234"/>
              <a:gd name="T49" fmla="*/ 828936 h 864235"/>
              <a:gd name="T50" fmla="*/ 658678 w 864234"/>
              <a:gd name="T51" fmla="*/ 798205 h 864235"/>
              <a:gd name="T52" fmla="*/ 712188 w 864234"/>
              <a:gd name="T53" fmla="*/ 758992 h 864235"/>
              <a:gd name="T54" fmla="*/ 758993 w 864234"/>
              <a:gd name="T55" fmla="*/ 712186 h 864235"/>
              <a:gd name="T56" fmla="*/ 798207 w 864234"/>
              <a:gd name="T57" fmla="*/ 658677 h 864235"/>
              <a:gd name="T58" fmla="*/ 828938 w 864234"/>
              <a:gd name="T59" fmla="*/ 599351 h 864235"/>
              <a:gd name="T60" fmla="*/ 850302 w 864234"/>
              <a:gd name="T61" fmla="*/ 535098 h 864235"/>
              <a:gd name="T62" fmla="*/ 861410 w 864234"/>
              <a:gd name="T63" fmla="*/ 466804 h 864235"/>
              <a:gd name="T64" fmla="*/ 862840 w 864234"/>
              <a:gd name="T65" fmla="*/ 431419 h 864235"/>
              <a:gd name="T66" fmla="*/ 861410 w 864234"/>
              <a:gd name="T67" fmla="*/ 396035 h 864235"/>
              <a:gd name="T68" fmla="*/ 850302 w 864234"/>
              <a:gd name="T69" fmla="*/ 327740 h 864235"/>
              <a:gd name="T70" fmla="*/ 828938 w 864234"/>
              <a:gd name="T71" fmla="*/ 263486 h 864235"/>
              <a:gd name="T72" fmla="*/ 798207 w 864234"/>
              <a:gd name="T73" fmla="*/ 204161 h 864235"/>
              <a:gd name="T74" fmla="*/ 758993 w 864234"/>
              <a:gd name="T75" fmla="*/ 150651 h 864235"/>
              <a:gd name="T76" fmla="*/ 712188 w 864234"/>
              <a:gd name="T77" fmla="*/ 103847 h 864235"/>
              <a:gd name="T78" fmla="*/ 658678 w 864234"/>
              <a:gd name="T79" fmla="*/ 64632 h 864235"/>
              <a:gd name="T80" fmla="*/ 599353 w 864234"/>
              <a:gd name="T81" fmla="*/ 33901 h 864235"/>
              <a:gd name="T82" fmla="*/ 535099 w 864234"/>
              <a:gd name="T83" fmla="*/ 12538 h 864235"/>
              <a:gd name="T84" fmla="*/ 466804 w 864234"/>
              <a:gd name="T85" fmla="*/ 1430 h 864235"/>
              <a:gd name="T86" fmla="*/ 431419 w 864234"/>
              <a:gd name="T87" fmla="*/ 0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4235">
                <a:moveTo>
                  <a:pt x="432053" y="0"/>
                </a:moveTo>
                <a:lnTo>
                  <a:pt x="361969" y="5654"/>
                </a:lnTo>
                <a:lnTo>
                  <a:pt x="295487" y="22025"/>
                </a:lnTo>
                <a:lnTo>
                  <a:pt x="233495" y="48222"/>
                </a:lnTo>
                <a:lnTo>
                  <a:pt x="176883" y="83358"/>
                </a:lnTo>
                <a:lnTo>
                  <a:pt x="126541" y="126541"/>
                </a:lnTo>
                <a:lnTo>
                  <a:pt x="83358" y="176883"/>
                </a:lnTo>
                <a:lnTo>
                  <a:pt x="48222" y="233495"/>
                </a:lnTo>
                <a:lnTo>
                  <a:pt x="22025" y="295487"/>
                </a:lnTo>
                <a:lnTo>
                  <a:pt x="5654" y="361969"/>
                </a:lnTo>
                <a:lnTo>
                  <a:pt x="0" y="432053"/>
                </a:lnTo>
                <a:lnTo>
                  <a:pt x="1432" y="467490"/>
                </a:lnTo>
                <a:lnTo>
                  <a:pt x="12556" y="535885"/>
                </a:lnTo>
                <a:lnTo>
                  <a:pt x="33951" y="600233"/>
                </a:lnTo>
                <a:lnTo>
                  <a:pt x="64728" y="659646"/>
                </a:lnTo>
                <a:lnTo>
                  <a:pt x="103999" y="713234"/>
                </a:lnTo>
                <a:lnTo>
                  <a:pt x="150873" y="760108"/>
                </a:lnTo>
                <a:lnTo>
                  <a:pt x="204461" y="799379"/>
                </a:lnTo>
                <a:lnTo>
                  <a:pt x="263874" y="830156"/>
                </a:lnTo>
                <a:lnTo>
                  <a:pt x="328222" y="851551"/>
                </a:lnTo>
                <a:lnTo>
                  <a:pt x="396617" y="862675"/>
                </a:lnTo>
                <a:lnTo>
                  <a:pt x="432053" y="864107"/>
                </a:lnTo>
                <a:lnTo>
                  <a:pt x="467490" y="862675"/>
                </a:lnTo>
                <a:lnTo>
                  <a:pt x="535885" y="851551"/>
                </a:lnTo>
                <a:lnTo>
                  <a:pt x="600233" y="830156"/>
                </a:lnTo>
                <a:lnTo>
                  <a:pt x="659646" y="799379"/>
                </a:lnTo>
                <a:lnTo>
                  <a:pt x="713234" y="760108"/>
                </a:lnTo>
                <a:lnTo>
                  <a:pt x="760108" y="713234"/>
                </a:lnTo>
                <a:lnTo>
                  <a:pt x="799379" y="659646"/>
                </a:lnTo>
                <a:lnTo>
                  <a:pt x="830156" y="600233"/>
                </a:lnTo>
                <a:lnTo>
                  <a:pt x="851551" y="535885"/>
                </a:lnTo>
                <a:lnTo>
                  <a:pt x="862675" y="467490"/>
                </a:lnTo>
                <a:lnTo>
                  <a:pt x="864107" y="432053"/>
                </a:lnTo>
                <a:lnTo>
                  <a:pt x="862675" y="396617"/>
                </a:lnTo>
                <a:lnTo>
                  <a:pt x="851551" y="328222"/>
                </a:lnTo>
                <a:lnTo>
                  <a:pt x="830156" y="263874"/>
                </a:lnTo>
                <a:lnTo>
                  <a:pt x="799379" y="204461"/>
                </a:lnTo>
                <a:lnTo>
                  <a:pt x="760108" y="150873"/>
                </a:lnTo>
                <a:lnTo>
                  <a:pt x="713234" y="103999"/>
                </a:lnTo>
                <a:lnTo>
                  <a:pt x="659646" y="64728"/>
                </a:lnTo>
                <a:lnTo>
                  <a:pt x="600233" y="33951"/>
                </a:lnTo>
                <a:lnTo>
                  <a:pt x="535885" y="12556"/>
                </a:lnTo>
                <a:lnTo>
                  <a:pt x="467490" y="1432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49" name="object 45"/>
          <p:cNvSpPr>
            <a:spLocks/>
          </p:cNvSpPr>
          <p:nvPr/>
        </p:nvSpPr>
        <p:spPr bwMode="auto">
          <a:xfrm>
            <a:off x="7234949" y="2273630"/>
            <a:ext cx="952059" cy="952159"/>
          </a:xfrm>
          <a:custGeom>
            <a:avLst/>
            <a:gdLst>
              <a:gd name="T0" fmla="*/ 0 w 864234"/>
              <a:gd name="T1" fmla="*/ 431419 h 864235"/>
              <a:gd name="T2" fmla="*/ 5646 w 864234"/>
              <a:gd name="T3" fmla="*/ 361437 h 864235"/>
              <a:gd name="T4" fmla="*/ 21993 w 864234"/>
              <a:gd name="T5" fmla="*/ 295053 h 864235"/>
              <a:gd name="T6" fmla="*/ 48152 w 864234"/>
              <a:gd name="T7" fmla="*/ 233152 h 864235"/>
              <a:gd name="T8" fmla="*/ 83236 w 864234"/>
              <a:gd name="T9" fmla="*/ 176623 h 864235"/>
              <a:gd name="T10" fmla="*/ 126355 w 864234"/>
              <a:gd name="T11" fmla="*/ 126355 h 864235"/>
              <a:gd name="T12" fmla="*/ 176623 w 864234"/>
              <a:gd name="T13" fmla="*/ 83236 h 864235"/>
              <a:gd name="T14" fmla="*/ 233153 w 864234"/>
              <a:gd name="T15" fmla="*/ 48152 h 864235"/>
              <a:gd name="T16" fmla="*/ 295053 w 864234"/>
              <a:gd name="T17" fmla="*/ 21993 h 864235"/>
              <a:gd name="T18" fmla="*/ 361438 w 864234"/>
              <a:gd name="T19" fmla="*/ 5646 h 864235"/>
              <a:gd name="T20" fmla="*/ 431419 w 864234"/>
              <a:gd name="T21" fmla="*/ 0 h 864235"/>
              <a:gd name="T22" fmla="*/ 466804 w 864234"/>
              <a:gd name="T23" fmla="*/ 1430 h 864235"/>
              <a:gd name="T24" fmla="*/ 535099 w 864234"/>
              <a:gd name="T25" fmla="*/ 12538 h 864235"/>
              <a:gd name="T26" fmla="*/ 599353 w 864234"/>
              <a:gd name="T27" fmla="*/ 33901 h 864235"/>
              <a:gd name="T28" fmla="*/ 658678 w 864234"/>
              <a:gd name="T29" fmla="*/ 64632 h 864235"/>
              <a:gd name="T30" fmla="*/ 712188 w 864234"/>
              <a:gd name="T31" fmla="*/ 103847 h 864235"/>
              <a:gd name="T32" fmla="*/ 758993 w 864234"/>
              <a:gd name="T33" fmla="*/ 150651 h 864235"/>
              <a:gd name="T34" fmla="*/ 798207 w 864234"/>
              <a:gd name="T35" fmla="*/ 204161 h 864235"/>
              <a:gd name="T36" fmla="*/ 828938 w 864234"/>
              <a:gd name="T37" fmla="*/ 263486 h 864235"/>
              <a:gd name="T38" fmla="*/ 850302 w 864234"/>
              <a:gd name="T39" fmla="*/ 327740 h 864235"/>
              <a:gd name="T40" fmla="*/ 861410 w 864234"/>
              <a:gd name="T41" fmla="*/ 396035 h 864235"/>
              <a:gd name="T42" fmla="*/ 862840 w 864234"/>
              <a:gd name="T43" fmla="*/ 431419 h 864235"/>
              <a:gd name="T44" fmla="*/ 861410 w 864234"/>
              <a:gd name="T45" fmla="*/ 466804 h 864235"/>
              <a:gd name="T46" fmla="*/ 850302 w 864234"/>
              <a:gd name="T47" fmla="*/ 535098 h 864235"/>
              <a:gd name="T48" fmla="*/ 828938 w 864234"/>
              <a:gd name="T49" fmla="*/ 599351 h 864235"/>
              <a:gd name="T50" fmla="*/ 798207 w 864234"/>
              <a:gd name="T51" fmla="*/ 658677 h 864235"/>
              <a:gd name="T52" fmla="*/ 758993 w 864234"/>
              <a:gd name="T53" fmla="*/ 712186 h 864235"/>
              <a:gd name="T54" fmla="*/ 712188 w 864234"/>
              <a:gd name="T55" fmla="*/ 758992 h 864235"/>
              <a:gd name="T56" fmla="*/ 658678 w 864234"/>
              <a:gd name="T57" fmla="*/ 798205 h 864235"/>
              <a:gd name="T58" fmla="*/ 599353 w 864234"/>
              <a:gd name="T59" fmla="*/ 828936 h 864235"/>
              <a:gd name="T60" fmla="*/ 535099 w 864234"/>
              <a:gd name="T61" fmla="*/ 850300 h 864235"/>
              <a:gd name="T62" fmla="*/ 466804 w 864234"/>
              <a:gd name="T63" fmla="*/ 861408 h 864235"/>
              <a:gd name="T64" fmla="*/ 431419 w 864234"/>
              <a:gd name="T65" fmla="*/ 862838 h 864235"/>
              <a:gd name="T66" fmla="*/ 396035 w 864234"/>
              <a:gd name="T67" fmla="*/ 861408 h 864235"/>
              <a:gd name="T68" fmla="*/ 327740 w 864234"/>
              <a:gd name="T69" fmla="*/ 850300 h 864235"/>
              <a:gd name="T70" fmla="*/ 263487 w 864234"/>
              <a:gd name="T71" fmla="*/ 828936 h 864235"/>
              <a:gd name="T72" fmla="*/ 204161 w 864234"/>
              <a:gd name="T73" fmla="*/ 798205 h 864235"/>
              <a:gd name="T74" fmla="*/ 150651 w 864234"/>
              <a:gd name="T75" fmla="*/ 758992 h 864235"/>
              <a:gd name="T76" fmla="*/ 103847 w 864234"/>
              <a:gd name="T77" fmla="*/ 712186 h 864235"/>
              <a:gd name="T78" fmla="*/ 64634 w 864234"/>
              <a:gd name="T79" fmla="*/ 658677 h 864235"/>
              <a:gd name="T80" fmla="*/ 33901 w 864234"/>
              <a:gd name="T81" fmla="*/ 599351 h 864235"/>
              <a:gd name="T82" fmla="*/ 12538 w 864234"/>
              <a:gd name="T83" fmla="*/ 535098 h 864235"/>
              <a:gd name="T84" fmla="*/ 1430 w 864234"/>
              <a:gd name="T85" fmla="*/ 466804 h 864235"/>
              <a:gd name="T86" fmla="*/ 0 w 864234"/>
              <a:gd name="T87" fmla="*/ 431419 h 864235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4235">
                <a:moveTo>
                  <a:pt x="0" y="432053"/>
                </a:moveTo>
                <a:lnTo>
                  <a:pt x="5654" y="361969"/>
                </a:lnTo>
                <a:lnTo>
                  <a:pt x="22025" y="295487"/>
                </a:lnTo>
                <a:lnTo>
                  <a:pt x="48222" y="233495"/>
                </a:lnTo>
                <a:lnTo>
                  <a:pt x="83358" y="176883"/>
                </a:lnTo>
                <a:lnTo>
                  <a:pt x="126541" y="126541"/>
                </a:lnTo>
                <a:lnTo>
                  <a:pt x="176883" y="83358"/>
                </a:lnTo>
                <a:lnTo>
                  <a:pt x="233495" y="48222"/>
                </a:lnTo>
                <a:lnTo>
                  <a:pt x="295487" y="22025"/>
                </a:lnTo>
                <a:lnTo>
                  <a:pt x="361969" y="5654"/>
                </a:lnTo>
                <a:lnTo>
                  <a:pt x="432053" y="0"/>
                </a:lnTo>
                <a:lnTo>
                  <a:pt x="467490" y="1432"/>
                </a:lnTo>
                <a:lnTo>
                  <a:pt x="535885" y="12556"/>
                </a:lnTo>
                <a:lnTo>
                  <a:pt x="600233" y="33951"/>
                </a:lnTo>
                <a:lnTo>
                  <a:pt x="659646" y="64728"/>
                </a:lnTo>
                <a:lnTo>
                  <a:pt x="713234" y="103999"/>
                </a:lnTo>
                <a:lnTo>
                  <a:pt x="760108" y="150873"/>
                </a:lnTo>
                <a:lnTo>
                  <a:pt x="799379" y="204461"/>
                </a:lnTo>
                <a:lnTo>
                  <a:pt x="830156" y="263874"/>
                </a:lnTo>
                <a:lnTo>
                  <a:pt x="851551" y="328222"/>
                </a:lnTo>
                <a:lnTo>
                  <a:pt x="862675" y="396617"/>
                </a:lnTo>
                <a:lnTo>
                  <a:pt x="864107" y="432053"/>
                </a:lnTo>
                <a:lnTo>
                  <a:pt x="862675" y="467490"/>
                </a:lnTo>
                <a:lnTo>
                  <a:pt x="851551" y="535885"/>
                </a:lnTo>
                <a:lnTo>
                  <a:pt x="830156" y="600233"/>
                </a:lnTo>
                <a:lnTo>
                  <a:pt x="799379" y="659646"/>
                </a:lnTo>
                <a:lnTo>
                  <a:pt x="760108" y="713234"/>
                </a:lnTo>
                <a:lnTo>
                  <a:pt x="713234" y="760108"/>
                </a:lnTo>
                <a:lnTo>
                  <a:pt x="659646" y="799379"/>
                </a:lnTo>
                <a:lnTo>
                  <a:pt x="600233" y="830156"/>
                </a:lnTo>
                <a:lnTo>
                  <a:pt x="535885" y="851551"/>
                </a:lnTo>
                <a:lnTo>
                  <a:pt x="467490" y="862675"/>
                </a:lnTo>
                <a:lnTo>
                  <a:pt x="432053" y="864107"/>
                </a:lnTo>
                <a:lnTo>
                  <a:pt x="396617" y="862675"/>
                </a:lnTo>
                <a:lnTo>
                  <a:pt x="328222" y="851551"/>
                </a:lnTo>
                <a:lnTo>
                  <a:pt x="263874" y="830156"/>
                </a:lnTo>
                <a:lnTo>
                  <a:pt x="204461" y="799379"/>
                </a:lnTo>
                <a:lnTo>
                  <a:pt x="150873" y="760108"/>
                </a:lnTo>
                <a:lnTo>
                  <a:pt x="103999" y="713234"/>
                </a:lnTo>
                <a:lnTo>
                  <a:pt x="64728" y="659646"/>
                </a:lnTo>
                <a:lnTo>
                  <a:pt x="33951" y="600233"/>
                </a:lnTo>
                <a:lnTo>
                  <a:pt x="12556" y="535885"/>
                </a:lnTo>
                <a:lnTo>
                  <a:pt x="1432" y="467490"/>
                </a:lnTo>
                <a:lnTo>
                  <a:pt x="0" y="432053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0" name="object 46"/>
          <p:cNvSpPr txBox="1">
            <a:spLocks noChangeArrowheads="1"/>
          </p:cNvSpPr>
          <p:nvPr/>
        </p:nvSpPr>
        <p:spPr bwMode="auto">
          <a:xfrm>
            <a:off x="7310204" y="2562429"/>
            <a:ext cx="805050" cy="3973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5400" indent="-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>
                <a:latin typeface="Arial" charset="0"/>
              </a:rPr>
              <a:t>Functional</a:t>
            </a:r>
            <a:r>
              <a:rPr lang="hu-HU" altLang="hu-HU" sz="13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>
                <a:latin typeface="Arial" charset="0"/>
              </a:rPr>
              <a:t>Managers</a:t>
            </a:r>
          </a:p>
        </p:txBody>
      </p:sp>
      <p:sp>
        <p:nvSpPr>
          <p:cNvPr id="47151" name="object 47"/>
          <p:cNvSpPr>
            <a:spLocks/>
          </p:cNvSpPr>
          <p:nvPr/>
        </p:nvSpPr>
        <p:spPr bwMode="auto">
          <a:xfrm>
            <a:off x="7156194" y="3381565"/>
            <a:ext cx="952059" cy="955660"/>
          </a:xfrm>
          <a:custGeom>
            <a:avLst/>
            <a:gdLst>
              <a:gd name="T0" fmla="*/ 431419 w 864234"/>
              <a:gd name="T1" fmla="*/ 0 h 866139"/>
              <a:gd name="T2" fmla="*/ 361438 w 864234"/>
              <a:gd name="T3" fmla="*/ 5673 h 866139"/>
              <a:gd name="T4" fmla="*/ 295053 w 864234"/>
              <a:gd name="T5" fmla="*/ 22098 h 866139"/>
              <a:gd name="T6" fmla="*/ 233153 w 864234"/>
              <a:gd name="T7" fmla="*/ 48383 h 866139"/>
              <a:gd name="T8" fmla="*/ 176623 w 864234"/>
              <a:gd name="T9" fmla="*/ 83634 h 866139"/>
              <a:gd name="T10" fmla="*/ 126355 w 864234"/>
              <a:gd name="T11" fmla="*/ 126959 h 866139"/>
              <a:gd name="T12" fmla="*/ 83236 w 864234"/>
              <a:gd name="T13" fmla="*/ 177466 h 866139"/>
              <a:gd name="T14" fmla="*/ 48152 w 864234"/>
              <a:gd name="T15" fmla="*/ 234262 h 866139"/>
              <a:gd name="T16" fmla="*/ 21993 w 864234"/>
              <a:gd name="T17" fmla="*/ 296452 h 866139"/>
              <a:gd name="T18" fmla="*/ 5646 w 864234"/>
              <a:gd name="T19" fmla="*/ 363146 h 866139"/>
              <a:gd name="T20" fmla="*/ 0 w 864234"/>
              <a:gd name="T21" fmla="*/ 433451 h 866139"/>
              <a:gd name="T22" fmla="*/ 1430 w 864234"/>
              <a:gd name="T23" fmla="*/ 468999 h 866139"/>
              <a:gd name="T24" fmla="*/ 12538 w 864234"/>
              <a:gd name="T25" fmla="*/ 537610 h 866139"/>
              <a:gd name="T26" fmla="*/ 33901 w 864234"/>
              <a:gd name="T27" fmla="*/ 602165 h 866139"/>
              <a:gd name="T28" fmla="*/ 64634 w 864234"/>
              <a:gd name="T29" fmla="*/ 661769 h 866139"/>
              <a:gd name="T30" fmla="*/ 103847 w 864234"/>
              <a:gd name="T31" fmla="*/ 715532 h 866139"/>
              <a:gd name="T32" fmla="*/ 150651 w 864234"/>
              <a:gd name="T33" fmla="*/ 762559 h 866139"/>
              <a:gd name="T34" fmla="*/ 204161 w 864234"/>
              <a:gd name="T35" fmla="*/ 801958 h 866139"/>
              <a:gd name="T36" fmla="*/ 263487 w 864234"/>
              <a:gd name="T37" fmla="*/ 832839 h 866139"/>
              <a:gd name="T38" fmla="*/ 327740 w 864234"/>
              <a:gd name="T39" fmla="*/ 854305 h 866139"/>
              <a:gd name="T40" fmla="*/ 396035 w 864234"/>
              <a:gd name="T41" fmla="*/ 865467 h 866139"/>
              <a:gd name="T42" fmla="*/ 431419 w 864234"/>
              <a:gd name="T43" fmla="*/ 866903 h 866139"/>
              <a:gd name="T44" fmla="*/ 466804 w 864234"/>
              <a:gd name="T45" fmla="*/ 865467 h 866139"/>
              <a:gd name="T46" fmla="*/ 535099 w 864234"/>
              <a:gd name="T47" fmla="*/ 854305 h 866139"/>
              <a:gd name="T48" fmla="*/ 599353 w 864234"/>
              <a:gd name="T49" fmla="*/ 832839 h 866139"/>
              <a:gd name="T50" fmla="*/ 658678 w 864234"/>
              <a:gd name="T51" fmla="*/ 801958 h 866139"/>
              <a:gd name="T52" fmla="*/ 712188 w 864234"/>
              <a:gd name="T53" fmla="*/ 762559 h 866139"/>
              <a:gd name="T54" fmla="*/ 758993 w 864234"/>
              <a:gd name="T55" fmla="*/ 715532 h 866139"/>
              <a:gd name="T56" fmla="*/ 798207 w 864234"/>
              <a:gd name="T57" fmla="*/ 661769 h 866139"/>
              <a:gd name="T58" fmla="*/ 828938 w 864234"/>
              <a:gd name="T59" fmla="*/ 602165 h 866139"/>
              <a:gd name="T60" fmla="*/ 850302 w 864234"/>
              <a:gd name="T61" fmla="*/ 537610 h 866139"/>
              <a:gd name="T62" fmla="*/ 861410 w 864234"/>
              <a:gd name="T63" fmla="*/ 468999 h 866139"/>
              <a:gd name="T64" fmla="*/ 862840 w 864234"/>
              <a:gd name="T65" fmla="*/ 433451 h 866139"/>
              <a:gd name="T66" fmla="*/ 861410 w 864234"/>
              <a:gd name="T67" fmla="*/ 397904 h 866139"/>
              <a:gd name="T68" fmla="*/ 850302 w 864234"/>
              <a:gd name="T69" fmla="*/ 329292 h 866139"/>
              <a:gd name="T70" fmla="*/ 828938 w 864234"/>
              <a:gd name="T71" fmla="*/ 264738 h 866139"/>
              <a:gd name="T72" fmla="*/ 798207 w 864234"/>
              <a:gd name="T73" fmla="*/ 205133 h 866139"/>
              <a:gd name="T74" fmla="*/ 758993 w 864234"/>
              <a:gd name="T75" fmla="*/ 151371 h 866139"/>
              <a:gd name="T76" fmla="*/ 712188 w 864234"/>
              <a:gd name="T77" fmla="*/ 104345 h 866139"/>
              <a:gd name="T78" fmla="*/ 658678 w 864234"/>
              <a:gd name="T79" fmla="*/ 64945 h 866139"/>
              <a:gd name="T80" fmla="*/ 599353 w 864234"/>
              <a:gd name="T81" fmla="*/ 34064 h 866139"/>
              <a:gd name="T82" fmla="*/ 535099 w 864234"/>
              <a:gd name="T83" fmla="*/ 12597 h 866139"/>
              <a:gd name="T84" fmla="*/ 466804 w 864234"/>
              <a:gd name="T85" fmla="*/ 1436 h 866139"/>
              <a:gd name="T86" fmla="*/ 431419 w 864234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432053" y="0"/>
                </a:moveTo>
                <a:lnTo>
                  <a:pt x="361969" y="5665"/>
                </a:lnTo>
                <a:lnTo>
                  <a:pt x="295487" y="22066"/>
                </a:lnTo>
                <a:lnTo>
                  <a:pt x="233495" y="48312"/>
                </a:lnTo>
                <a:lnTo>
                  <a:pt x="176883" y="83512"/>
                </a:lnTo>
                <a:lnTo>
                  <a:pt x="126541" y="126773"/>
                </a:lnTo>
                <a:lnTo>
                  <a:pt x="83358" y="177206"/>
                </a:lnTo>
                <a:lnTo>
                  <a:pt x="48222" y="233918"/>
                </a:lnTo>
                <a:lnTo>
                  <a:pt x="22025" y="296017"/>
                </a:lnTo>
                <a:lnTo>
                  <a:pt x="5654" y="362614"/>
                </a:lnTo>
                <a:lnTo>
                  <a:pt x="0" y="432815"/>
                </a:lnTo>
                <a:lnTo>
                  <a:pt x="1432" y="468311"/>
                </a:lnTo>
                <a:lnTo>
                  <a:pt x="12556" y="536822"/>
                </a:lnTo>
                <a:lnTo>
                  <a:pt x="33951" y="601281"/>
                </a:lnTo>
                <a:lnTo>
                  <a:pt x="64728" y="660798"/>
                </a:lnTo>
                <a:lnTo>
                  <a:pt x="103999" y="714482"/>
                </a:lnTo>
                <a:lnTo>
                  <a:pt x="150873" y="761440"/>
                </a:lnTo>
                <a:lnTo>
                  <a:pt x="204461" y="800782"/>
                </a:lnTo>
                <a:lnTo>
                  <a:pt x="263874" y="831617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7"/>
                </a:lnTo>
                <a:lnTo>
                  <a:pt x="659646" y="800782"/>
                </a:lnTo>
                <a:lnTo>
                  <a:pt x="713234" y="761440"/>
                </a:lnTo>
                <a:lnTo>
                  <a:pt x="760108" y="714482"/>
                </a:lnTo>
                <a:lnTo>
                  <a:pt x="799379" y="660798"/>
                </a:lnTo>
                <a:lnTo>
                  <a:pt x="830156" y="601281"/>
                </a:lnTo>
                <a:lnTo>
                  <a:pt x="851551" y="536822"/>
                </a:lnTo>
                <a:lnTo>
                  <a:pt x="862675" y="468311"/>
                </a:lnTo>
                <a:lnTo>
                  <a:pt x="864107" y="432815"/>
                </a:lnTo>
                <a:lnTo>
                  <a:pt x="862675" y="397320"/>
                </a:lnTo>
                <a:lnTo>
                  <a:pt x="851551" y="328809"/>
                </a:lnTo>
                <a:lnTo>
                  <a:pt x="830156" y="264350"/>
                </a:lnTo>
                <a:lnTo>
                  <a:pt x="799379" y="204832"/>
                </a:lnTo>
                <a:lnTo>
                  <a:pt x="760108" y="151149"/>
                </a:lnTo>
                <a:lnTo>
                  <a:pt x="713234" y="104191"/>
                </a:lnTo>
                <a:lnTo>
                  <a:pt x="659646" y="64849"/>
                </a:lnTo>
                <a:lnTo>
                  <a:pt x="600233" y="34014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2" name="object 48"/>
          <p:cNvSpPr>
            <a:spLocks/>
          </p:cNvSpPr>
          <p:nvPr/>
        </p:nvSpPr>
        <p:spPr bwMode="auto">
          <a:xfrm>
            <a:off x="7156194" y="3381565"/>
            <a:ext cx="952059" cy="955660"/>
          </a:xfrm>
          <a:custGeom>
            <a:avLst/>
            <a:gdLst>
              <a:gd name="T0" fmla="*/ 0 w 864234"/>
              <a:gd name="T1" fmla="*/ 433451 h 866139"/>
              <a:gd name="T2" fmla="*/ 5646 w 864234"/>
              <a:gd name="T3" fmla="*/ 363146 h 866139"/>
              <a:gd name="T4" fmla="*/ 21993 w 864234"/>
              <a:gd name="T5" fmla="*/ 296452 h 866139"/>
              <a:gd name="T6" fmla="*/ 48152 w 864234"/>
              <a:gd name="T7" fmla="*/ 234262 h 866139"/>
              <a:gd name="T8" fmla="*/ 83236 w 864234"/>
              <a:gd name="T9" fmla="*/ 177466 h 866139"/>
              <a:gd name="T10" fmla="*/ 126355 w 864234"/>
              <a:gd name="T11" fmla="*/ 126959 h 866139"/>
              <a:gd name="T12" fmla="*/ 176623 w 864234"/>
              <a:gd name="T13" fmla="*/ 83634 h 866139"/>
              <a:gd name="T14" fmla="*/ 233153 w 864234"/>
              <a:gd name="T15" fmla="*/ 48383 h 866139"/>
              <a:gd name="T16" fmla="*/ 295053 w 864234"/>
              <a:gd name="T17" fmla="*/ 22098 h 866139"/>
              <a:gd name="T18" fmla="*/ 361438 w 864234"/>
              <a:gd name="T19" fmla="*/ 5673 h 866139"/>
              <a:gd name="T20" fmla="*/ 431419 w 864234"/>
              <a:gd name="T21" fmla="*/ 0 h 866139"/>
              <a:gd name="T22" fmla="*/ 466804 w 864234"/>
              <a:gd name="T23" fmla="*/ 1436 h 866139"/>
              <a:gd name="T24" fmla="*/ 535099 w 864234"/>
              <a:gd name="T25" fmla="*/ 12597 h 866139"/>
              <a:gd name="T26" fmla="*/ 599353 w 864234"/>
              <a:gd name="T27" fmla="*/ 34064 h 866139"/>
              <a:gd name="T28" fmla="*/ 658678 w 864234"/>
              <a:gd name="T29" fmla="*/ 64945 h 866139"/>
              <a:gd name="T30" fmla="*/ 712188 w 864234"/>
              <a:gd name="T31" fmla="*/ 104345 h 866139"/>
              <a:gd name="T32" fmla="*/ 758993 w 864234"/>
              <a:gd name="T33" fmla="*/ 151371 h 866139"/>
              <a:gd name="T34" fmla="*/ 798207 w 864234"/>
              <a:gd name="T35" fmla="*/ 205133 h 866139"/>
              <a:gd name="T36" fmla="*/ 828938 w 864234"/>
              <a:gd name="T37" fmla="*/ 264738 h 866139"/>
              <a:gd name="T38" fmla="*/ 850302 w 864234"/>
              <a:gd name="T39" fmla="*/ 329292 h 866139"/>
              <a:gd name="T40" fmla="*/ 861410 w 864234"/>
              <a:gd name="T41" fmla="*/ 397904 h 866139"/>
              <a:gd name="T42" fmla="*/ 862840 w 864234"/>
              <a:gd name="T43" fmla="*/ 433451 h 866139"/>
              <a:gd name="T44" fmla="*/ 861410 w 864234"/>
              <a:gd name="T45" fmla="*/ 468999 h 866139"/>
              <a:gd name="T46" fmla="*/ 850302 w 864234"/>
              <a:gd name="T47" fmla="*/ 537610 h 866139"/>
              <a:gd name="T48" fmla="*/ 828938 w 864234"/>
              <a:gd name="T49" fmla="*/ 602165 h 866139"/>
              <a:gd name="T50" fmla="*/ 798207 w 864234"/>
              <a:gd name="T51" fmla="*/ 661769 h 866139"/>
              <a:gd name="T52" fmla="*/ 758993 w 864234"/>
              <a:gd name="T53" fmla="*/ 715532 h 866139"/>
              <a:gd name="T54" fmla="*/ 712188 w 864234"/>
              <a:gd name="T55" fmla="*/ 762559 h 866139"/>
              <a:gd name="T56" fmla="*/ 658678 w 864234"/>
              <a:gd name="T57" fmla="*/ 801958 h 866139"/>
              <a:gd name="T58" fmla="*/ 599353 w 864234"/>
              <a:gd name="T59" fmla="*/ 832839 h 866139"/>
              <a:gd name="T60" fmla="*/ 535099 w 864234"/>
              <a:gd name="T61" fmla="*/ 854305 h 866139"/>
              <a:gd name="T62" fmla="*/ 466804 w 864234"/>
              <a:gd name="T63" fmla="*/ 865467 h 866139"/>
              <a:gd name="T64" fmla="*/ 431419 w 864234"/>
              <a:gd name="T65" fmla="*/ 866903 h 866139"/>
              <a:gd name="T66" fmla="*/ 396035 w 864234"/>
              <a:gd name="T67" fmla="*/ 865467 h 866139"/>
              <a:gd name="T68" fmla="*/ 327740 w 864234"/>
              <a:gd name="T69" fmla="*/ 854305 h 866139"/>
              <a:gd name="T70" fmla="*/ 263487 w 864234"/>
              <a:gd name="T71" fmla="*/ 832839 h 866139"/>
              <a:gd name="T72" fmla="*/ 204161 w 864234"/>
              <a:gd name="T73" fmla="*/ 801958 h 866139"/>
              <a:gd name="T74" fmla="*/ 150651 w 864234"/>
              <a:gd name="T75" fmla="*/ 762559 h 866139"/>
              <a:gd name="T76" fmla="*/ 103847 w 864234"/>
              <a:gd name="T77" fmla="*/ 715532 h 866139"/>
              <a:gd name="T78" fmla="*/ 64634 w 864234"/>
              <a:gd name="T79" fmla="*/ 661769 h 866139"/>
              <a:gd name="T80" fmla="*/ 33901 w 864234"/>
              <a:gd name="T81" fmla="*/ 602165 h 866139"/>
              <a:gd name="T82" fmla="*/ 12538 w 864234"/>
              <a:gd name="T83" fmla="*/ 537610 h 866139"/>
              <a:gd name="T84" fmla="*/ 1430 w 864234"/>
              <a:gd name="T85" fmla="*/ 468999 h 866139"/>
              <a:gd name="T86" fmla="*/ 0 w 864234"/>
              <a:gd name="T87" fmla="*/ 433451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0" y="432815"/>
                </a:moveTo>
                <a:lnTo>
                  <a:pt x="5654" y="362614"/>
                </a:lnTo>
                <a:lnTo>
                  <a:pt x="22025" y="296017"/>
                </a:lnTo>
                <a:lnTo>
                  <a:pt x="48222" y="233918"/>
                </a:lnTo>
                <a:lnTo>
                  <a:pt x="83358" y="177206"/>
                </a:lnTo>
                <a:lnTo>
                  <a:pt x="126541" y="126773"/>
                </a:lnTo>
                <a:lnTo>
                  <a:pt x="176883" y="83512"/>
                </a:lnTo>
                <a:lnTo>
                  <a:pt x="233495" y="48312"/>
                </a:lnTo>
                <a:lnTo>
                  <a:pt x="295487" y="22066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4"/>
                </a:lnTo>
                <a:lnTo>
                  <a:pt x="659646" y="64849"/>
                </a:lnTo>
                <a:lnTo>
                  <a:pt x="713234" y="104191"/>
                </a:lnTo>
                <a:lnTo>
                  <a:pt x="760108" y="151149"/>
                </a:lnTo>
                <a:lnTo>
                  <a:pt x="799379" y="204832"/>
                </a:lnTo>
                <a:lnTo>
                  <a:pt x="830156" y="264350"/>
                </a:lnTo>
                <a:lnTo>
                  <a:pt x="851551" y="328809"/>
                </a:lnTo>
                <a:lnTo>
                  <a:pt x="862675" y="397320"/>
                </a:lnTo>
                <a:lnTo>
                  <a:pt x="864107" y="432815"/>
                </a:lnTo>
                <a:lnTo>
                  <a:pt x="862675" y="468311"/>
                </a:lnTo>
                <a:lnTo>
                  <a:pt x="851551" y="536822"/>
                </a:lnTo>
                <a:lnTo>
                  <a:pt x="830156" y="601281"/>
                </a:lnTo>
                <a:lnTo>
                  <a:pt x="799379" y="660798"/>
                </a:lnTo>
                <a:lnTo>
                  <a:pt x="760108" y="714482"/>
                </a:lnTo>
                <a:lnTo>
                  <a:pt x="713234" y="761440"/>
                </a:lnTo>
                <a:lnTo>
                  <a:pt x="659646" y="800782"/>
                </a:lnTo>
                <a:lnTo>
                  <a:pt x="600233" y="831617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7"/>
                </a:lnTo>
                <a:lnTo>
                  <a:pt x="204461" y="800782"/>
                </a:lnTo>
                <a:lnTo>
                  <a:pt x="150873" y="761440"/>
                </a:lnTo>
                <a:lnTo>
                  <a:pt x="103999" y="714482"/>
                </a:lnTo>
                <a:lnTo>
                  <a:pt x="64728" y="660798"/>
                </a:lnTo>
                <a:lnTo>
                  <a:pt x="33951" y="601281"/>
                </a:lnTo>
                <a:lnTo>
                  <a:pt x="12556" y="536822"/>
                </a:lnTo>
                <a:lnTo>
                  <a:pt x="1432" y="468311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3" name="object 49"/>
          <p:cNvSpPr txBox="1">
            <a:spLocks noChangeArrowheads="1"/>
          </p:cNvSpPr>
          <p:nvPr/>
        </p:nvSpPr>
        <p:spPr bwMode="auto">
          <a:xfrm>
            <a:off x="7278702" y="3570597"/>
            <a:ext cx="712294" cy="600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-1588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</a:pPr>
            <a:r>
              <a:rPr lang="hu-HU" altLang="hu-HU" sz="1300" dirty="0" err="1">
                <a:latin typeface="Arial" charset="0"/>
              </a:rPr>
              <a:t>Sellers</a:t>
            </a:r>
            <a:r>
              <a:rPr lang="hu-HU" altLang="hu-HU" sz="1300" dirty="0">
                <a:latin typeface="Arial" charset="0"/>
              </a:rPr>
              <a:t>/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>
                <a:latin typeface="Arial" charset="0"/>
              </a:rPr>
              <a:t>Business</a:t>
            </a:r>
            <a:r>
              <a:rPr lang="hu-HU" altLang="hu-HU" sz="13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 dirty="0" err="1">
                <a:latin typeface="Arial" charset="0"/>
              </a:rPr>
              <a:t>Partners</a:t>
            </a:r>
            <a:endParaRPr lang="hu-HU" altLang="hu-HU" sz="1300" dirty="0">
              <a:latin typeface="Arial" charset="0"/>
            </a:endParaRPr>
          </a:p>
        </p:txBody>
      </p:sp>
      <p:sp>
        <p:nvSpPr>
          <p:cNvPr id="47154" name="object 50"/>
          <p:cNvSpPr>
            <a:spLocks/>
          </p:cNvSpPr>
          <p:nvPr/>
        </p:nvSpPr>
        <p:spPr bwMode="auto">
          <a:xfrm>
            <a:off x="6442150" y="4337224"/>
            <a:ext cx="952059" cy="953910"/>
          </a:xfrm>
          <a:custGeom>
            <a:avLst/>
            <a:gdLst>
              <a:gd name="T0" fmla="*/ 431419 w 864234"/>
              <a:gd name="T1" fmla="*/ 0 h 866139"/>
              <a:gd name="T2" fmla="*/ 361438 w 864234"/>
              <a:gd name="T3" fmla="*/ 5653 h 866139"/>
              <a:gd name="T4" fmla="*/ 295053 w 864234"/>
              <a:gd name="T5" fmla="*/ 22019 h 866139"/>
              <a:gd name="T6" fmla="*/ 233153 w 864234"/>
              <a:gd name="T7" fmla="*/ 48207 h 866139"/>
              <a:gd name="T8" fmla="*/ 176623 w 864234"/>
              <a:gd name="T9" fmla="*/ 83330 h 866139"/>
              <a:gd name="T10" fmla="*/ 126355 w 864234"/>
              <a:gd name="T11" fmla="*/ 126498 h 866139"/>
              <a:gd name="T12" fmla="*/ 83236 w 864234"/>
              <a:gd name="T13" fmla="*/ 176819 h 866139"/>
              <a:gd name="T14" fmla="*/ 48152 w 864234"/>
              <a:gd name="T15" fmla="*/ 233406 h 866139"/>
              <a:gd name="T16" fmla="*/ 21993 w 864234"/>
              <a:gd name="T17" fmla="*/ 295370 h 866139"/>
              <a:gd name="T18" fmla="*/ 5646 w 864234"/>
              <a:gd name="T19" fmla="*/ 361819 h 866139"/>
              <a:gd name="T20" fmla="*/ 0 w 864234"/>
              <a:gd name="T21" fmla="*/ 431865 h 866139"/>
              <a:gd name="T22" fmla="*/ 1430 w 864234"/>
              <a:gd name="T23" fmla="*/ 467282 h 866139"/>
              <a:gd name="T24" fmla="*/ 12538 w 864234"/>
              <a:gd name="T25" fmla="*/ 535642 h 866139"/>
              <a:gd name="T26" fmla="*/ 33901 w 864234"/>
              <a:gd name="T27" fmla="*/ 599960 h 866139"/>
              <a:gd name="T28" fmla="*/ 64634 w 864234"/>
              <a:gd name="T29" fmla="*/ 659345 h 866139"/>
              <a:gd name="T30" fmla="*/ 103847 w 864234"/>
              <a:gd name="T31" fmla="*/ 712911 h 866139"/>
              <a:gd name="T32" fmla="*/ 150651 w 864234"/>
              <a:gd name="T33" fmla="*/ 759767 h 866139"/>
              <a:gd name="T34" fmla="*/ 204161 w 864234"/>
              <a:gd name="T35" fmla="*/ 799024 h 866139"/>
              <a:gd name="T36" fmla="*/ 263487 w 864234"/>
              <a:gd name="T37" fmla="*/ 829791 h 866139"/>
              <a:gd name="T38" fmla="*/ 327740 w 864234"/>
              <a:gd name="T39" fmla="*/ 851179 h 866139"/>
              <a:gd name="T40" fmla="*/ 396035 w 864234"/>
              <a:gd name="T41" fmla="*/ 862300 h 866139"/>
              <a:gd name="T42" fmla="*/ 431419 w 864234"/>
              <a:gd name="T43" fmla="*/ 863732 h 866139"/>
              <a:gd name="T44" fmla="*/ 466804 w 864234"/>
              <a:gd name="T45" fmla="*/ 862300 h 866139"/>
              <a:gd name="T46" fmla="*/ 535099 w 864234"/>
              <a:gd name="T47" fmla="*/ 851179 h 866139"/>
              <a:gd name="T48" fmla="*/ 599353 w 864234"/>
              <a:gd name="T49" fmla="*/ 829791 h 866139"/>
              <a:gd name="T50" fmla="*/ 658678 w 864234"/>
              <a:gd name="T51" fmla="*/ 799024 h 866139"/>
              <a:gd name="T52" fmla="*/ 712188 w 864234"/>
              <a:gd name="T53" fmla="*/ 759767 h 866139"/>
              <a:gd name="T54" fmla="*/ 758993 w 864234"/>
              <a:gd name="T55" fmla="*/ 712911 h 866139"/>
              <a:gd name="T56" fmla="*/ 798207 w 864234"/>
              <a:gd name="T57" fmla="*/ 659345 h 866139"/>
              <a:gd name="T58" fmla="*/ 828938 w 864234"/>
              <a:gd name="T59" fmla="*/ 599960 h 866139"/>
              <a:gd name="T60" fmla="*/ 850302 w 864234"/>
              <a:gd name="T61" fmla="*/ 535642 h 866139"/>
              <a:gd name="T62" fmla="*/ 861410 w 864234"/>
              <a:gd name="T63" fmla="*/ 467282 h 866139"/>
              <a:gd name="T64" fmla="*/ 862840 w 864234"/>
              <a:gd name="T65" fmla="*/ 431865 h 866139"/>
              <a:gd name="T66" fmla="*/ 861410 w 864234"/>
              <a:gd name="T67" fmla="*/ 396449 h 866139"/>
              <a:gd name="T68" fmla="*/ 850302 w 864234"/>
              <a:gd name="T69" fmla="*/ 328089 h 866139"/>
              <a:gd name="T70" fmla="*/ 828938 w 864234"/>
              <a:gd name="T71" fmla="*/ 263772 h 866139"/>
              <a:gd name="T72" fmla="*/ 798207 w 864234"/>
              <a:gd name="T73" fmla="*/ 204385 h 866139"/>
              <a:gd name="T74" fmla="*/ 758993 w 864234"/>
              <a:gd name="T75" fmla="*/ 150819 h 866139"/>
              <a:gd name="T76" fmla="*/ 712188 w 864234"/>
              <a:gd name="T77" fmla="*/ 103965 h 866139"/>
              <a:gd name="T78" fmla="*/ 658678 w 864234"/>
              <a:gd name="T79" fmla="*/ 64708 h 866139"/>
              <a:gd name="T80" fmla="*/ 599353 w 864234"/>
              <a:gd name="T81" fmla="*/ 33941 h 866139"/>
              <a:gd name="T82" fmla="*/ 535099 w 864234"/>
              <a:gd name="T83" fmla="*/ 12551 h 866139"/>
              <a:gd name="T84" fmla="*/ 466804 w 864234"/>
              <a:gd name="T85" fmla="*/ 1430 h 866139"/>
              <a:gd name="T86" fmla="*/ 431419 w 864234"/>
              <a:gd name="T87" fmla="*/ 0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432053" y="0"/>
                </a:moveTo>
                <a:lnTo>
                  <a:pt x="361969" y="5665"/>
                </a:lnTo>
                <a:lnTo>
                  <a:pt x="295487" y="22067"/>
                </a:lnTo>
                <a:lnTo>
                  <a:pt x="233495" y="48313"/>
                </a:lnTo>
                <a:lnTo>
                  <a:pt x="176883" y="83514"/>
                </a:lnTo>
                <a:lnTo>
                  <a:pt x="126541" y="126776"/>
                </a:lnTo>
                <a:lnTo>
                  <a:pt x="83358" y="177208"/>
                </a:lnTo>
                <a:lnTo>
                  <a:pt x="48222" y="233920"/>
                </a:lnTo>
                <a:lnTo>
                  <a:pt x="22025" y="296020"/>
                </a:lnTo>
                <a:lnTo>
                  <a:pt x="5654" y="362615"/>
                </a:lnTo>
                <a:lnTo>
                  <a:pt x="0" y="432815"/>
                </a:lnTo>
                <a:lnTo>
                  <a:pt x="1432" y="468310"/>
                </a:lnTo>
                <a:lnTo>
                  <a:pt x="12556" y="536820"/>
                </a:lnTo>
                <a:lnTo>
                  <a:pt x="33951" y="601279"/>
                </a:lnTo>
                <a:lnTo>
                  <a:pt x="64728" y="660796"/>
                </a:lnTo>
                <a:lnTo>
                  <a:pt x="103999" y="714479"/>
                </a:lnTo>
                <a:lnTo>
                  <a:pt x="150873" y="761438"/>
                </a:lnTo>
                <a:lnTo>
                  <a:pt x="204461" y="800781"/>
                </a:lnTo>
                <a:lnTo>
                  <a:pt x="263874" y="831616"/>
                </a:lnTo>
                <a:lnTo>
                  <a:pt x="328222" y="853052"/>
                </a:lnTo>
                <a:lnTo>
                  <a:pt x="396617" y="864197"/>
                </a:lnTo>
                <a:lnTo>
                  <a:pt x="432053" y="865631"/>
                </a:lnTo>
                <a:lnTo>
                  <a:pt x="467490" y="864197"/>
                </a:lnTo>
                <a:lnTo>
                  <a:pt x="535885" y="853052"/>
                </a:lnTo>
                <a:lnTo>
                  <a:pt x="600233" y="831616"/>
                </a:lnTo>
                <a:lnTo>
                  <a:pt x="659646" y="800781"/>
                </a:lnTo>
                <a:lnTo>
                  <a:pt x="713234" y="761438"/>
                </a:lnTo>
                <a:lnTo>
                  <a:pt x="760108" y="714479"/>
                </a:lnTo>
                <a:lnTo>
                  <a:pt x="799379" y="660796"/>
                </a:lnTo>
                <a:lnTo>
                  <a:pt x="830156" y="601279"/>
                </a:lnTo>
                <a:lnTo>
                  <a:pt x="851551" y="536820"/>
                </a:lnTo>
                <a:lnTo>
                  <a:pt x="862675" y="468310"/>
                </a:lnTo>
                <a:lnTo>
                  <a:pt x="864107" y="432815"/>
                </a:lnTo>
                <a:lnTo>
                  <a:pt x="862675" y="397321"/>
                </a:lnTo>
                <a:lnTo>
                  <a:pt x="851551" y="328811"/>
                </a:lnTo>
                <a:lnTo>
                  <a:pt x="830156" y="264352"/>
                </a:lnTo>
                <a:lnTo>
                  <a:pt x="799379" y="204835"/>
                </a:lnTo>
                <a:lnTo>
                  <a:pt x="760108" y="151151"/>
                </a:lnTo>
                <a:lnTo>
                  <a:pt x="713234" y="104193"/>
                </a:lnTo>
                <a:lnTo>
                  <a:pt x="659646" y="64850"/>
                </a:lnTo>
                <a:lnTo>
                  <a:pt x="600233" y="34015"/>
                </a:lnTo>
                <a:lnTo>
                  <a:pt x="535885" y="12579"/>
                </a:lnTo>
                <a:lnTo>
                  <a:pt x="467490" y="1434"/>
                </a:lnTo>
                <a:lnTo>
                  <a:pt x="432053" y="0"/>
                </a:lnTo>
                <a:close/>
              </a:path>
            </a:pathLst>
          </a:custGeom>
          <a:solidFill>
            <a:srgbClr val="FFCC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5" name="object 51"/>
          <p:cNvSpPr>
            <a:spLocks/>
          </p:cNvSpPr>
          <p:nvPr/>
        </p:nvSpPr>
        <p:spPr bwMode="auto">
          <a:xfrm>
            <a:off x="6442150" y="4337224"/>
            <a:ext cx="952059" cy="953910"/>
          </a:xfrm>
          <a:custGeom>
            <a:avLst/>
            <a:gdLst>
              <a:gd name="T0" fmla="*/ 0 w 864234"/>
              <a:gd name="T1" fmla="*/ 431865 h 866139"/>
              <a:gd name="T2" fmla="*/ 5646 w 864234"/>
              <a:gd name="T3" fmla="*/ 361819 h 866139"/>
              <a:gd name="T4" fmla="*/ 21993 w 864234"/>
              <a:gd name="T5" fmla="*/ 295370 h 866139"/>
              <a:gd name="T6" fmla="*/ 48152 w 864234"/>
              <a:gd name="T7" fmla="*/ 233406 h 866139"/>
              <a:gd name="T8" fmla="*/ 83236 w 864234"/>
              <a:gd name="T9" fmla="*/ 176819 h 866139"/>
              <a:gd name="T10" fmla="*/ 126355 w 864234"/>
              <a:gd name="T11" fmla="*/ 126498 h 866139"/>
              <a:gd name="T12" fmla="*/ 176623 w 864234"/>
              <a:gd name="T13" fmla="*/ 83330 h 866139"/>
              <a:gd name="T14" fmla="*/ 233153 w 864234"/>
              <a:gd name="T15" fmla="*/ 48207 h 866139"/>
              <a:gd name="T16" fmla="*/ 295053 w 864234"/>
              <a:gd name="T17" fmla="*/ 22019 h 866139"/>
              <a:gd name="T18" fmla="*/ 361438 w 864234"/>
              <a:gd name="T19" fmla="*/ 5653 h 866139"/>
              <a:gd name="T20" fmla="*/ 431419 w 864234"/>
              <a:gd name="T21" fmla="*/ 0 h 866139"/>
              <a:gd name="T22" fmla="*/ 466804 w 864234"/>
              <a:gd name="T23" fmla="*/ 1430 h 866139"/>
              <a:gd name="T24" fmla="*/ 535099 w 864234"/>
              <a:gd name="T25" fmla="*/ 12551 h 866139"/>
              <a:gd name="T26" fmla="*/ 599353 w 864234"/>
              <a:gd name="T27" fmla="*/ 33941 h 866139"/>
              <a:gd name="T28" fmla="*/ 658678 w 864234"/>
              <a:gd name="T29" fmla="*/ 64708 h 866139"/>
              <a:gd name="T30" fmla="*/ 712188 w 864234"/>
              <a:gd name="T31" fmla="*/ 103965 h 866139"/>
              <a:gd name="T32" fmla="*/ 758993 w 864234"/>
              <a:gd name="T33" fmla="*/ 150819 h 866139"/>
              <a:gd name="T34" fmla="*/ 798207 w 864234"/>
              <a:gd name="T35" fmla="*/ 204385 h 866139"/>
              <a:gd name="T36" fmla="*/ 828938 w 864234"/>
              <a:gd name="T37" fmla="*/ 263772 h 866139"/>
              <a:gd name="T38" fmla="*/ 850302 w 864234"/>
              <a:gd name="T39" fmla="*/ 328089 h 866139"/>
              <a:gd name="T40" fmla="*/ 861410 w 864234"/>
              <a:gd name="T41" fmla="*/ 396449 h 866139"/>
              <a:gd name="T42" fmla="*/ 862840 w 864234"/>
              <a:gd name="T43" fmla="*/ 431865 h 866139"/>
              <a:gd name="T44" fmla="*/ 861410 w 864234"/>
              <a:gd name="T45" fmla="*/ 467282 h 866139"/>
              <a:gd name="T46" fmla="*/ 850302 w 864234"/>
              <a:gd name="T47" fmla="*/ 535642 h 866139"/>
              <a:gd name="T48" fmla="*/ 828938 w 864234"/>
              <a:gd name="T49" fmla="*/ 599960 h 866139"/>
              <a:gd name="T50" fmla="*/ 798207 w 864234"/>
              <a:gd name="T51" fmla="*/ 659345 h 866139"/>
              <a:gd name="T52" fmla="*/ 758993 w 864234"/>
              <a:gd name="T53" fmla="*/ 712911 h 866139"/>
              <a:gd name="T54" fmla="*/ 712188 w 864234"/>
              <a:gd name="T55" fmla="*/ 759767 h 866139"/>
              <a:gd name="T56" fmla="*/ 658678 w 864234"/>
              <a:gd name="T57" fmla="*/ 799024 h 866139"/>
              <a:gd name="T58" fmla="*/ 599353 w 864234"/>
              <a:gd name="T59" fmla="*/ 829791 h 866139"/>
              <a:gd name="T60" fmla="*/ 535099 w 864234"/>
              <a:gd name="T61" fmla="*/ 851179 h 866139"/>
              <a:gd name="T62" fmla="*/ 466804 w 864234"/>
              <a:gd name="T63" fmla="*/ 862300 h 866139"/>
              <a:gd name="T64" fmla="*/ 431419 w 864234"/>
              <a:gd name="T65" fmla="*/ 863732 h 866139"/>
              <a:gd name="T66" fmla="*/ 396035 w 864234"/>
              <a:gd name="T67" fmla="*/ 862300 h 866139"/>
              <a:gd name="T68" fmla="*/ 327740 w 864234"/>
              <a:gd name="T69" fmla="*/ 851179 h 866139"/>
              <a:gd name="T70" fmla="*/ 263487 w 864234"/>
              <a:gd name="T71" fmla="*/ 829791 h 866139"/>
              <a:gd name="T72" fmla="*/ 204161 w 864234"/>
              <a:gd name="T73" fmla="*/ 799024 h 866139"/>
              <a:gd name="T74" fmla="*/ 150651 w 864234"/>
              <a:gd name="T75" fmla="*/ 759767 h 866139"/>
              <a:gd name="T76" fmla="*/ 103847 w 864234"/>
              <a:gd name="T77" fmla="*/ 712911 h 866139"/>
              <a:gd name="T78" fmla="*/ 64634 w 864234"/>
              <a:gd name="T79" fmla="*/ 659345 h 866139"/>
              <a:gd name="T80" fmla="*/ 33901 w 864234"/>
              <a:gd name="T81" fmla="*/ 599960 h 866139"/>
              <a:gd name="T82" fmla="*/ 12538 w 864234"/>
              <a:gd name="T83" fmla="*/ 535642 h 866139"/>
              <a:gd name="T84" fmla="*/ 1430 w 864234"/>
              <a:gd name="T85" fmla="*/ 467282 h 866139"/>
              <a:gd name="T86" fmla="*/ 0 w 864234"/>
              <a:gd name="T87" fmla="*/ 431865 h 866139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864234" h="866139">
                <a:moveTo>
                  <a:pt x="0" y="432815"/>
                </a:moveTo>
                <a:lnTo>
                  <a:pt x="5654" y="362615"/>
                </a:lnTo>
                <a:lnTo>
                  <a:pt x="22025" y="296020"/>
                </a:lnTo>
                <a:lnTo>
                  <a:pt x="48222" y="233920"/>
                </a:lnTo>
                <a:lnTo>
                  <a:pt x="83358" y="177208"/>
                </a:lnTo>
                <a:lnTo>
                  <a:pt x="126541" y="126776"/>
                </a:lnTo>
                <a:lnTo>
                  <a:pt x="176883" y="83514"/>
                </a:lnTo>
                <a:lnTo>
                  <a:pt x="233495" y="48313"/>
                </a:lnTo>
                <a:lnTo>
                  <a:pt x="295487" y="22067"/>
                </a:lnTo>
                <a:lnTo>
                  <a:pt x="361969" y="5665"/>
                </a:lnTo>
                <a:lnTo>
                  <a:pt x="432053" y="0"/>
                </a:lnTo>
                <a:lnTo>
                  <a:pt x="467490" y="1434"/>
                </a:lnTo>
                <a:lnTo>
                  <a:pt x="535885" y="12579"/>
                </a:lnTo>
                <a:lnTo>
                  <a:pt x="600233" y="34015"/>
                </a:lnTo>
                <a:lnTo>
                  <a:pt x="659646" y="64850"/>
                </a:lnTo>
                <a:lnTo>
                  <a:pt x="713234" y="104193"/>
                </a:lnTo>
                <a:lnTo>
                  <a:pt x="760108" y="151151"/>
                </a:lnTo>
                <a:lnTo>
                  <a:pt x="799379" y="204835"/>
                </a:lnTo>
                <a:lnTo>
                  <a:pt x="830156" y="264352"/>
                </a:lnTo>
                <a:lnTo>
                  <a:pt x="851551" y="328811"/>
                </a:lnTo>
                <a:lnTo>
                  <a:pt x="862675" y="397321"/>
                </a:lnTo>
                <a:lnTo>
                  <a:pt x="864107" y="432815"/>
                </a:lnTo>
                <a:lnTo>
                  <a:pt x="862675" y="468310"/>
                </a:lnTo>
                <a:lnTo>
                  <a:pt x="851551" y="536820"/>
                </a:lnTo>
                <a:lnTo>
                  <a:pt x="830156" y="601279"/>
                </a:lnTo>
                <a:lnTo>
                  <a:pt x="799379" y="660796"/>
                </a:lnTo>
                <a:lnTo>
                  <a:pt x="760108" y="714479"/>
                </a:lnTo>
                <a:lnTo>
                  <a:pt x="713234" y="761438"/>
                </a:lnTo>
                <a:lnTo>
                  <a:pt x="659646" y="800781"/>
                </a:lnTo>
                <a:lnTo>
                  <a:pt x="600233" y="831616"/>
                </a:lnTo>
                <a:lnTo>
                  <a:pt x="535885" y="853052"/>
                </a:lnTo>
                <a:lnTo>
                  <a:pt x="467490" y="864197"/>
                </a:lnTo>
                <a:lnTo>
                  <a:pt x="432053" y="865631"/>
                </a:lnTo>
                <a:lnTo>
                  <a:pt x="396617" y="864197"/>
                </a:lnTo>
                <a:lnTo>
                  <a:pt x="328222" y="853052"/>
                </a:lnTo>
                <a:lnTo>
                  <a:pt x="263874" y="831616"/>
                </a:lnTo>
                <a:lnTo>
                  <a:pt x="204461" y="800781"/>
                </a:lnTo>
                <a:lnTo>
                  <a:pt x="150873" y="761438"/>
                </a:lnTo>
                <a:lnTo>
                  <a:pt x="103999" y="714479"/>
                </a:lnTo>
                <a:lnTo>
                  <a:pt x="64728" y="660796"/>
                </a:lnTo>
                <a:lnTo>
                  <a:pt x="33951" y="601279"/>
                </a:lnTo>
                <a:lnTo>
                  <a:pt x="12556" y="536820"/>
                </a:lnTo>
                <a:lnTo>
                  <a:pt x="1432" y="468310"/>
                </a:lnTo>
                <a:lnTo>
                  <a:pt x="0" y="432815"/>
                </a:lnTo>
                <a:close/>
              </a:path>
            </a:pathLst>
          </a:custGeom>
          <a:noFill/>
          <a:ln w="9143">
            <a:solidFill>
              <a:srgbClr val="760A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/>
          </a:p>
        </p:txBody>
      </p:sp>
      <p:sp>
        <p:nvSpPr>
          <p:cNvPr id="47156" name="object 52"/>
          <p:cNvSpPr txBox="1">
            <a:spLocks noChangeArrowheads="1"/>
          </p:cNvSpPr>
          <p:nvPr/>
        </p:nvSpPr>
        <p:spPr bwMode="auto">
          <a:xfrm>
            <a:off x="6498154" y="4626023"/>
            <a:ext cx="843552" cy="397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80975" indent="-168275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1300">
                <a:latin typeface="Arial" charset="0"/>
              </a:rPr>
              <a:t>Customers</a:t>
            </a:r>
            <a:r>
              <a:rPr lang="hu-HU" altLang="hu-HU" sz="130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300">
                <a:latin typeface="Arial" charset="0"/>
              </a:rPr>
              <a:t>Users</a:t>
            </a:r>
          </a:p>
        </p:txBody>
      </p:sp>
      <p:sp>
        <p:nvSpPr>
          <p:cNvPr id="2" name="Rectangle 1"/>
          <p:cNvSpPr/>
          <p:nvPr/>
        </p:nvSpPr>
        <p:spPr>
          <a:xfrm>
            <a:off x="3473488" y="1717121"/>
            <a:ext cx="3101105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 smtClean="0">
                <a:latin typeface="Arial"/>
                <a:cs typeface="Arial"/>
              </a:rPr>
              <a:t>Proje</a:t>
            </a:r>
            <a:r>
              <a:rPr lang="en-US" b="1" spc="-11" dirty="0" smtClean="0">
                <a:latin typeface="Arial"/>
                <a:cs typeface="Arial"/>
              </a:rPr>
              <a:t>c</a:t>
            </a:r>
            <a:r>
              <a:rPr lang="en-US" b="1" dirty="0" smtClean="0">
                <a:latin typeface="Arial"/>
                <a:cs typeface="Arial"/>
              </a:rPr>
              <a:t>t</a:t>
            </a:r>
            <a:r>
              <a:rPr lang="en-US" b="1" spc="55" dirty="0" smtClean="0">
                <a:latin typeface="Times New Roman"/>
                <a:cs typeface="Times New Roman"/>
              </a:rPr>
              <a:t> </a:t>
            </a:r>
            <a:r>
              <a:rPr lang="en-US" b="1" dirty="0">
                <a:latin typeface="Arial"/>
                <a:cs typeface="Arial"/>
              </a:rPr>
              <a:t>Sta</a:t>
            </a:r>
            <a:r>
              <a:rPr lang="en-US" b="1" spc="-11" dirty="0">
                <a:latin typeface="Arial"/>
                <a:cs typeface="Arial"/>
              </a:rPr>
              <a:t>k</a:t>
            </a:r>
            <a:r>
              <a:rPr lang="en-US" b="1" spc="-22" dirty="0">
                <a:latin typeface="Arial"/>
                <a:cs typeface="Arial"/>
              </a:rPr>
              <a:t>eho</a:t>
            </a:r>
            <a:r>
              <a:rPr lang="en-US" b="1" dirty="0">
                <a:latin typeface="Arial"/>
                <a:cs typeface="Arial"/>
              </a:rPr>
              <a:t>lde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32437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</a:t>
            </a:r>
            <a:r>
              <a:rPr lang="en-US" spc="-17" dirty="0"/>
              <a:t>k</a:t>
            </a:r>
            <a:r>
              <a:rPr lang="en-US" spc="-6" dirty="0"/>
              <a:t>e</a:t>
            </a:r>
            <a:r>
              <a:rPr lang="en-US" spc="-11" dirty="0"/>
              <a:t>h</a:t>
            </a:r>
            <a:r>
              <a:rPr lang="en-US" dirty="0"/>
              <a:t>old</a:t>
            </a:r>
            <a:r>
              <a:rPr lang="en-US" spc="-11" dirty="0"/>
              <a:t>e</a:t>
            </a:r>
            <a:r>
              <a:rPr lang="en-US" dirty="0"/>
              <a:t>r</a:t>
            </a:r>
            <a:r>
              <a:rPr lang="en-US" spc="72" dirty="0">
                <a:latin typeface="Times New Roman"/>
                <a:cs typeface="Times New Roman"/>
              </a:rPr>
              <a:t> </a:t>
            </a:r>
            <a:r>
              <a:rPr lang="en-US" spc="-6" dirty="0" smtClean="0"/>
              <a:t>anal</a:t>
            </a:r>
            <a:r>
              <a:rPr lang="en-US" spc="-33" dirty="0" smtClean="0"/>
              <a:t>y</a:t>
            </a:r>
            <a:r>
              <a:rPr lang="en-US" spc="-6" dirty="0" smtClean="0"/>
              <a:t>sis</a:t>
            </a:r>
            <a:endParaRPr lang="hu-HU" dirty="0"/>
          </a:p>
        </p:txBody>
      </p:sp>
      <p:sp>
        <p:nvSpPr>
          <p:cNvPr id="15" name="object 2"/>
          <p:cNvSpPr>
            <a:spLocks/>
          </p:cNvSpPr>
          <p:nvPr/>
        </p:nvSpPr>
        <p:spPr bwMode="auto">
          <a:xfrm>
            <a:off x="4644788" y="1162194"/>
            <a:ext cx="5080566" cy="5238626"/>
          </a:xfrm>
          <a:custGeom>
            <a:avLst/>
            <a:gdLst>
              <a:gd name="T0" fmla="*/ 2546 w 4608830"/>
              <a:gd name="T1" fmla="*/ 704820 h 4752340"/>
              <a:gd name="T2" fmla="*/ 22319 w 4608830"/>
              <a:gd name="T3" fmla="*/ 583285 h 4752340"/>
              <a:gd name="T4" fmla="*/ 60355 w 4608830"/>
              <a:gd name="T5" fmla="*/ 468937 h 4752340"/>
              <a:gd name="T6" fmla="*/ 115066 w 4608830"/>
              <a:gd name="T7" fmla="*/ 363357 h 4752340"/>
              <a:gd name="T8" fmla="*/ 184874 w 4608830"/>
              <a:gd name="T9" fmla="*/ 268126 h 4752340"/>
              <a:gd name="T10" fmla="*/ 268198 w 4608830"/>
              <a:gd name="T11" fmla="*/ 184826 h 4752340"/>
              <a:gd name="T12" fmla="*/ 363453 w 4608830"/>
              <a:gd name="T13" fmla="*/ 115036 h 4752340"/>
              <a:gd name="T14" fmla="*/ 469061 w 4608830"/>
              <a:gd name="T15" fmla="*/ 60339 h 4752340"/>
              <a:gd name="T16" fmla="*/ 583439 w 4608830"/>
              <a:gd name="T17" fmla="*/ 22315 h 4752340"/>
              <a:gd name="T18" fmla="*/ 705006 w 4608830"/>
              <a:gd name="T19" fmla="*/ 2544 h 4752340"/>
              <a:gd name="T20" fmla="*/ 3839951 w 4608830"/>
              <a:gd name="T21" fmla="*/ 0 h 4752340"/>
              <a:gd name="T22" fmla="*/ 3964518 w 4608830"/>
              <a:gd name="T23" fmla="*/ 10049 h 4752340"/>
              <a:gd name="T24" fmla="*/ 4082688 w 4608830"/>
              <a:gd name="T25" fmla="*/ 39143 h 4752340"/>
              <a:gd name="T26" fmla="*/ 4192880 w 4608830"/>
              <a:gd name="T27" fmla="*/ 85702 h 4752340"/>
              <a:gd name="T28" fmla="*/ 4293509 w 4608830"/>
              <a:gd name="T29" fmla="*/ 148143 h 4752340"/>
              <a:gd name="T30" fmla="*/ 4382996 w 4608830"/>
              <a:gd name="T31" fmla="*/ 224886 h 4752340"/>
              <a:gd name="T32" fmla="*/ 4459758 w 4608830"/>
              <a:gd name="T33" fmla="*/ 314350 h 4752340"/>
              <a:gd name="T34" fmla="*/ 4522217 w 4608830"/>
              <a:gd name="T35" fmla="*/ 414953 h 4752340"/>
              <a:gd name="T36" fmla="*/ 4568788 w 4608830"/>
              <a:gd name="T37" fmla="*/ 525114 h 4752340"/>
              <a:gd name="T38" fmla="*/ 4597890 w 4608830"/>
              <a:gd name="T39" fmla="*/ 643253 h 4752340"/>
              <a:gd name="T40" fmla="*/ 4607941 w 4608830"/>
              <a:gd name="T41" fmla="*/ 767787 h 4752340"/>
              <a:gd name="T42" fmla="*/ 4605395 w 4608830"/>
              <a:gd name="T43" fmla="*/ 4045107 h 4752340"/>
              <a:gd name="T44" fmla="*/ 4585621 w 4608830"/>
              <a:gd name="T45" fmla="*/ 4166640 h 4752340"/>
              <a:gd name="T46" fmla="*/ 4547586 w 4608830"/>
              <a:gd name="T47" fmla="*/ 4280987 h 4752340"/>
              <a:gd name="T48" fmla="*/ 4492875 w 4608830"/>
              <a:gd name="T49" fmla="*/ 4386567 h 4752340"/>
              <a:gd name="T50" fmla="*/ 4423067 w 4608830"/>
              <a:gd name="T51" fmla="*/ 4481798 h 4752340"/>
              <a:gd name="T52" fmla="*/ 4339743 w 4608830"/>
              <a:gd name="T53" fmla="*/ 4565099 h 4752340"/>
              <a:gd name="T54" fmla="*/ 4244488 w 4608830"/>
              <a:gd name="T55" fmla="*/ 4634889 h 4752340"/>
              <a:gd name="T56" fmla="*/ 4138880 w 4608830"/>
              <a:gd name="T57" fmla="*/ 4689587 h 4752340"/>
              <a:gd name="T58" fmla="*/ 4024502 w 4608830"/>
              <a:gd name="T59" fmla="*/ 4727613 h 4752340"/>
              <a:gd name="T60" fmla="*/ 3902937 w 4608830"/>
              <a:gd name="T61" fmla="*/ 4747383 h 4752340"/>
              <a:gd name="T62" fmla="*/ 767989 w 4608830"/>
              <a:gd name="T63" fmla="*/ 4749927 h 4752340"/>
              <a:gd name="T64" fmla="*/ 643423 w 4608830"/>
              <a:gd name="T65" fmla="*/ 4739878 h 4752340"/>
              <a:gd name="T66" fmla="*/ 525252 w 4608830"/>
              <a:gd name="T67" fmla="*/ 4710783 h 4752340"/>
              <a:gd name="T68" fmla="*/ 415061 w 4608830"/>
              <a:gd name="T69" fmla="*/ 4664223 h 4752340"/>
              <a:gd name="T70" fmla="*/ 314432 w 4608830"/>
              <a:gd name="T71" fmla="*/ 4601783 h 4752340"/>
              <a:gd name="T72" fmla="*/ 224946 w 4608830"/>
              <a:gd name="T73" fmla="*/ 4525038 h 4752340"/>
              <a:gd name="T74" fmla="*/ 148183 w 4608830"/>
              <a:gd name="T75" fmla="*/ 4435575 h 4752340"/>
              <a:gd name="T76" fmla="*/ 85724 w 4608830"/>
              <a:gd name="T77" fmla="*/ 4334971 h 4752340"/>
              <a:gd name="T78" fmla="*/ 39153 w 4608830"/>
              <a:gd name="T79" fmla="*/ 4224811 h 4752340"/>
              <a:gd name="T80" fmla="*/ 10051 w 4608830"/>
              <a:gd name="T81" fmla="*/ 4106673 h 4752340"/>
              <a:gd name="T82" fmla="*/ 0 w 4608830"/>
              <a:gd name="T83" fmla="*/ 3982139 h 475234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4608830" h="4752340">
                <a:moveTo>
                  <a:pt x="0" y="768095"/>
                </a:moveTo>
                <a:lnTo>
                  <a:pt x="2546" y="705102"/>
                </a:lnTo>
                <a:lnTo>
                  <a:pt x="10053" y="643511"/>
                </a:lnTo>
                <a:lnTo>
                  <a:pt x="22323" y="583519"/>
                </a:lnTo>
                <a:lnTo>
                  <a:pt x="39159" y="525324"/>
                </a:lnTo>
                <a:lnTo>
                  <a:pt x="60363" y="469125"/>
                </a:lnTo>
                <a:lnTo>
                  <a:pt x="85736" y="415119"/>
                </a:lnTo>
                <a:lnTo>
                  <a:pt x="115082" y="363503"/>
                </a:lnTo>
                <a:lnTo>
                  <a:pt x="148203" y="314476"/>
                </a:lnTo>
                <a:lnTo>
                  <a:pt x="184900" y="268234"/>
                </a:lnTo>
                <a:lnTo>
                  <a:pt x="224976" y="224976"/>
                </a:lnTo>
                <a:lnTo>
                  <a:pt x="268234" y="184900"/>
                </a:lnTo>
                <a:lnTo>
                  <a:pt x="314476" y="148203"/>
                </a:lnTo>
                <a:lnTo>
                  <a:pt x="363503" y="115082"/>
                </a:lnTo>
                <a:lnTo>
                  <a:pt x="415119" y="85736"/>
                </a:lnTo>
                <a:lnTo>
                  <a:pt x="469125" y="60363"/>
                </a:lnTo>
                <a:lnTo>
                  <a:pt x="525324" y="39159"/>
                </a:lnTo>
                <a:lnTo>
                  <a:pt x="583519" y="22323"/>
                </a:lnTo>
                <a:lnTo>
                  <a:pt x="643511" y="10053"/>
                </a:lnTo>
                <a:lnTo>
                  <a:pt x="705102" y="2546"/>
                </a:lnTo>
                <a:lnTo>
                  <a:pt x="768095" y="0"/>
                </a:lnTo>
                <a:lnTo>
                  <a:pt x="3840479" y="0"/>
                </a:lnTo>
                <a:lnTo>
                  <a:pt x="3903473" y="2546"/>
                </a:lnTo>
                <a:lnTo>
                  <a:pt x="3965064" y="10053"/>
                </a:lnTo>
                <a:lnTo>
                  <a:pt x="4025056" y="22323"/>
                </a:lnTo>
                <a:lnTo>
                  <a:pt x="4083250" y="39159"/>
                </a:lnTo>
                <a:lnTo>
                  <a:pt x="4139450" y="60363"/>
                </a:lnTo>
                <a:lnTo>
                  <a:pt x="4193456" y="85736"/>
                </a:lnTo>
                <a:lnTo>
                  <a:pt x="4245072" y="115082"/>
                </a:lnTo>
                <a:lnTo>
                  <a:pt x="4294099" y="148203"/>
                </a:lnTo>
                <a:lnTo>
                  <a:pt x="4340341" y="184900"/>
                </a:lnTo>
                <a:lnTo>
                  <a:pt x="4383599" y="224976"/>
                </a:lnTo>
                <a:lnTo>
                  <a:pt x="4423675" y="268234"/>
                </a:lnTo>
                <a:lnTo>
                  <a:pt x="4460372" y="314476"/>
                </a:lnTo>
                <a:lnTo>
                  <a:pt x="4493493" y="363503"/>
                </a:lnTo>
                <a:lnTo>
                  <a:pt x="4522839" y="415119"/>
                </a:lnTo>
                <a:lnTo>
                  <a:pt x="4548212" y="469125"/>
                </a:lnTo>
                <a:lnTo>
                  <a:pt x="4569416" y="525324"/>
                </a:lnTo>
                <a:lnTo>
                  <a:pt x="4586251" y="583519"/>
                </a:lnTo>
                <a:lnTo>
                  <a:pt x="4598522" y="643511"/>
                </a:lnTo>
                <a:lnTo>
                  <a:pt x="4606029" y="705102"/>
                </a:lnTo>
                <a:lnTo>
                  <a:pt x="4608575" y="768095"/>
                </a:lnTo>
                <a:lnTo>
                  <a:pt x="4608575" y="3983735"/>
                </a:lnTo>
                <a:lnTo>
                  <a:pt x="4606029" y="4046728"/>
                </a:lnTo>
                <a:lnTo>
                  <a:pt x="4598522" y="4108319"/>
                </a:lnTo>
                <a:lnTo>
                  <a:pt x="4586251" y="4168310"/>
                </a:lnTo>
                <a:lnTo>
                  <a:pt x="4569416" y="4226504"/>
                </a:lnTo>
                <a:lnTo>
                  <a:pt x="4548212" y="4282703"/>
                </a:lnTo>
                <a:lnTo>
                  <a:pt x="4522839" y="4336709"/>
                </a:lnTo>
                <a:lnTo>
                  <a:pt x="4493493" y="4388325"/>
                </a:lnTo>
                <a:lnTo>
                  <a:pt x="4460372" y="4437353"/>
                </a:lnTo>
                <a:lnTo>
                  <a:pt x="4423675" y="4483594"/>
                </a:lnTo>
                <a:lnTo>
                  <a:pt x="4383599" y="4526852"/>
                </a:lnTo>
                <a:lnTo>
                  <a:pt x="4340341" y="4566929"/>
                </a:lnTo>
                <a:lnTo>
                  <a:pt x="4294099" y="4603627"/>
                </a:lnTo>
                <a:lnTo>
                  <a:pt x="4245072" y="4636747"/>
                </a:lnTo>
                <a:lnTo>
                  <a:pt x="4193456" y="4666093"/>
                </a:lnTo>
                <a:lnTo>
                  <a:pt x="4139450" y="4691467"/>
                </a:lnTo>
                <a:lnTo>
                  <a:pt x="4083250" y="4712671"/>
                </a:lnTo>
                <a:lnTo>
                  <a:pt x="4025056" y="4729507"/>
                </a:lnTo>
                <a:lnTo>
                  <a:pt x="3965064" y="4741778"/>
                </a:lnTo>
                <a:lnTo>
                  <a:pt x="3903473" y="4749285"/>
                </a:lnTo>
                <a:lnTo>
                  <a:pt x="3840479" y="4751831"/>
                </a:lnTo>
                <a:lnTo>
                  <a:pt x="768095" y="4751831"/>
                </a:lnTo>
                <a:lnTo>
                  <a:pt x="705102" y="4749285"/>
                </a:lnTo>
                <a:lnTo>
                  <a:pt x="643511" y="4741778"/>
                </a:lnTo>
                <a:lnTo>
                  <a:pt x="583519" y="4729507"/>
                </a:lnTo>
                <a:lnTo>
                  <a:pt x="525324" y="4712671"/>
                </a:lnTo>
                <a:lnTo>
                  <a:pt x="469125" y="4691467"/>
                </a:lnTo>
                <a:lnTo>
                  <a:pt x="415119" y="4666093"/>
                </a:lnTo>
                <a:lnTo>
                  <a:pt x="363503" y="4636747"/>
                </a:lnTo>
                <a:lnTo>
                  <a:pt x="314476" y="4603627"/>
                </a:lnTo>
                <a:lnTo>
                  <a:pt x="268234" y="4566929"/>
                </a:lnTo>
                <a:lnTo>
                  <a:pt x="224976" y="4526852"/>
                </a:lnTo>
                <a:lnTo>
                  <a:pt x="184900" y="4483594"/>
                </a:lnTo>
                <a:lnTo>
                  <a:pt x="148203" y="4437353"/>
                </a:lnTo>
                <a:lnTo>
                  <a:pt x="115082" y="4388325"/>
                </a:lnTo>
                <a:lnTo>
                  <a:pt x="85736" y="4336709"/>
                </a:lnTo>
                <a:lnTo>
                  <a:pt x="60363" y="4282703"/>
                </a:lnTo>
                <a:lnTo>
                  <a:pt x="39159" y="4226504"/>
                </a:lnTo>
                <a:lnTo>
                  <a:pt x="22323" y="4168310"/>
                </a:lnTo>
                <a:lnTo>
                  <a:pt x="10053" y="4108319"/>
                </a:lnTo>
                <a:lnTo>
                  <a:pt x="2546" y="4046728"/>
                </a:lnTo>
                <a:lnTo>
                  <a:pt x="0" y="3983735"/>
                </a:lnTo>
                <a:lnTo>
                  <a:pt x="0" y="768095"/>
                </a:lnTo>
                <a:close/>
              </a:path>
            </a:pathLst>
          </a:custGeom>
          <a:noFill/>
          <a:ln w="25907">
            <a:solidFill>
              <a:srgbClr val="4F80B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16" name="object 4"/>
          <p:cNvSpPr txBox="1"/>
          <p:nvPr/>
        </p:nvSpPr>
        <p:spPr>
          <a:xfrm>
            <a:off x="591537" y="1401985"/>
            <a:ext cx="3185197" cy="1184940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200" b="1" dirty="0">
                <a:solidFill>
                  <a:srgbClr val="5D100C"/>
                </a:solidFill>
                <a:latin typeface="Arial"/>
                <a:cs typeface="Arial"/>
              </a:rPr>
              <a:t>Mu</a:t>
            </a:r>
            <a:r>
              <a:rPr sz="2200" b="1" spc="-11" dirty="0">
                <a:solidFill>
                  <a:srgbClr val="5D100C"/>
                </a:solidFill>
                <a:latin typeface="Arial"/>
                <a:cs typeface="Arial"/>
              </a:rPr>
              <a:t>l</a:t>
            </a:r>
            <a:r>
              <a:rPr sz="2200" b="1" dirty="0">
                <a:solidFill>
                  <a:srgbClr val="5D100C"/>
                </a:solidFill>
                <a:latin typeface="Arial"/>
                <a:cs typeface="Arial"/>
              </a:rPr>
              <a:t>tiple</a:t>
            </a:r>
            <a:r>
              <a:rPr sz="2200" b="1" spc="22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z="2200" b="1" spc="-6" dirty="0">
                <a:solidFill>
                  <a:srgbClr val="5D100C"/>
                </a:solidFill>
                <a:latin typeface="Arial"/>
                <a:cs typeface="Arial"/>
              </a:rPr>
              <a:t>classifica</a:t>
            </a:r>
            <a:r>
              <a:rPr sz="2200" b="1" spc="-11" dirty="0">
                <a:solidFill>
                  <a:srgbClr val="5D100C"/>
                </a:solidFill>
                <a:latin typeface="Arial"/>
                <a:cs typeface="Arial"/>
              </a:rPr>
              <a:t>t</a:t>
            </a:r>
            <a:r>
              <a:rPr sz="2200" b="1" dirty="0">
                <a:solidFill>
                  <a:srgbClr val="5D100C"/>
                </a:solidFill>
                <a:latin typeface="Arial"/>
                <a:cs typeface="Arial"/>
              </a:rPr>
              <a:t>ions</a:t>
            </a:r>
            <a:r>
              <a:rPr sz="2200" b="1" dirty="0" smtClean="0">
                <a:solidFill>
                  <a:srgbClr val="5D100C"/>
                </a:solidFill>
                <a:latin typeface="Arial"/>
                <a:cs typeface="Arial"/>
              </a:rPr>
              <a:t>:</a:t>
            </a:r>
            <a:endParaRPr lang="hu-HU" sz="2200" b="1" dirty="0" smtClean="0">
              <a:solidFill>
                <a:srgbClr val="5D100C"/>
              </a:solidFill>
              <a:latin typeface="Arial"/>
              <a:cs typeface="Arial"/>
            </a:endParaRPr>
          </a:p>
          <a:p>
            <a:pPr marL="14000">
              <a:defRPr/>
            </a:pPr>
            <a:endParaRPr sz="2200" dirty="0">
              <a:latin typeface="Arial"/>
              <a:cs typeface="Arial"/>
            </a:endParaRPr>
          </a:p>
          <a:p>
            <a:pPr marL="14000">
              <a:spcBef>
                <a:spcPts val="1240"/>
              </a:spcBef>
              <a:tabLst>
                <a:tab pos="518018" algn="l"/>
              </a:tabLst>
              <a:defRPr/>
            </a:pPr>
            <a:r>
              <a:rPr spc="-17" dirty="0">
                <a:solidFill>
                  <a:srgbClr val="5D100C"/>
                </a:solidFill>
                <a:latin typeface="Arial"/>
                <a:cs typeface="Arial"/>
              </a:rPr>
              <a:t>1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.</a:t>
            </a:r>
            <a:r>
              <a:rPr dirty="0">
                <a:solidFill>
                  <a:srgbClr val="5D100C"/>
                </a:solidFill>
                <a:latin typeface="Times New Roman"/>
                <a:cs typeface="Times New Roman"/>
              </a:rPr>
              <a:t>	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P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o</a:t>
            </a:r>
            <a:r>
              <a:rPr spc="-44" dirty="0">
                <a:solidFill>
                  <a:srgbClr val="5D100C"/>
                </a:solidFill>
                <a:latin typeface="Arial"/>
                <a:cs typeface="Arial"/>
              </a:rPr>
              <a:t>w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er/i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ter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est</a:t>
            </a:r>
            <a:r>
              <a:rPr spc="110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gr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i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d</a:t>
            </a:r>
            <a:endParaRPr dirty="0">
              <a:latin typeface="Arial"/>
              <a:cs typeface="Arial"/>
            </a:endParaRPr>
          </a:p>
        </p:txBody>
      </p:sp>
      <p:sp>
        <p:nvSpPr>
          <p:cNvPr id="17" name="object 5"/>
          <p:cNvSpPr txBox="1"/>
          <p:nvPr/>
        </p:nvSpPr>
        <p:spPr>
          <a:xfrm>
            <a:off x="591536" y="2761091"/>
            <a:ext cx="3622725" cy="925894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518018" indent="-504017">
              <a:buClr>
                <a:srgbClr val="5D100C"/>
              </a:buClr>
              <a:buFont typeface="Arial"/>
              <a:buAutoNum type="arabicPeriod" startAt="2"/>
              <a:tabLst>
                <a:tab pos="518717" algn="l"/>
              </a:tabLst>
              <a:defRPr/>
            </a:pP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P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o</a:t>
            </a:r>
            <a:r>
              <a:rPr spc="-44" dirty="0">
                <a:solidFill>
                  <a:srgbClr val="5D100C"/>
                </a:solidFill>
                <a:latin typeface="Arial"/>
                <a:cs typeface="Arial"/>
              </a:rPr>
              <a:t>w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er/i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flu</a:t>
            </a:r>
            <a:r>
              <a:rPr spc="-17" dirty="0">
                <a:solidFill>
                  <a:srgbClr val="5D100C"/>
                </a:solidFill>
                <a:latin typeface="Arial"/>
                <a:cs typeface="Arial"/>
              </a:rPr>
              <a:t>e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spc="6" dirty="0">
                <a:solidFill>
                  <a:srgbClr val="5D100C"/>
                </a:solidFill>
                <a:latin typeface="Arial"/>
                <a:cs typeface="Arial"/>
              </a:rPr>
              <a:t>c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e</a:t>
            </a:r>
            <a:r>
              <a:rPr spc="105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gr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i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d</a:t>
            </a:r>
            <a:endParaRPr dirty="0">
              <a:latin typeface="Arial"/>
              <a:cs typeface="Arial"/>
            </a:endParaRPr>
          </a:p>
          <a:p>
            <a:pPr marL="518018" indent="-504017">
              <a:spcBef>
                <a:spcPts val="1670"/>
              </a:spcBef>
              <a:buClr>
                <a:srgbClr val="5D100C"/>
              </a:buClr>
              <a:buFont typeface="Arial"/>
              <a:buAutoNum type="arabicPeriod" startAt="2"/>
              <a:tabLst>
                <a:tab pos="518717" algn="l"/>
              </a:tabLst>
              <a:defRPr/>
            </a:pP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Infl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u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e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n</a:t>
            </a:r>
            <a:r>
              <a:rPr dirty="0">
                <a:solidFill>
                  <a:srgbClr val="5D100C"/>
                </a:solidFill>
                <a:latin typeface="Arial"/>
                <a:cs typeface="Arial"/>
              </a:rPr>
              <a:t>ce/im</a:t>
            </a:r>
            <a:r>
              <a:rPr spc="-11" dirty="0">
                <a:solidFill>
                  <a:srgbClr val="5D100C"/>
                </a:solidFill>
                <a:latin typeface="Arial"/>
                <a:cs typeface="Arial"/>
              </a:rPr>
              <a:t>p</a:t>
            </a:r>
            <a:r>
              <a:rPr spc="-17" dirty="0">
                <a:solidFill>
                  <a:srgbClr val="5D100C"/>
                </a:solidFill>
                <a:latin typeface="Arial"/>
                <a:cs typeface="Arial"/>
              </a:rPr>
              <a:t>ac</a:t>
            </a:r>
            <a:r>
              <a:rPr spc="-6" dirty="0">
                <a:solidFill>
                  <a:srgbClr val="5D100C"/>
                </a:solidFill>
                <a:latin typeface="Arial"/>
                <a:cs typeface="Arial"/>
              </a:rPr>
              <a:t>t</a:t>
            </a:r>
            <a:r>
              <a:rPr spc="66" dirty="0">
                <a:solidFill>
                  <a:srgbClr val="5D100C"/>
                </a:solidFill>
                <a:latin typeface="Times New Roman"/>
                <a:cs typeface="Times New Roman"/>
              </a:rPr>
              <a:t> </a:t>
            </a:r>
            <a:r>
              <a:rPr spc="-6" dirty="0" smtClean="0">
                <a:solidFill>
                  <a:srgbClr val="5D100C"/>
                </a:solidFill>
                <a:latin typeface="Arial"/>
                <a:cs typeface="Arial"/>
              </a:rPr>
              <a:t>gr</a:t>
            </a:r>
            <a:r>
              <a:rPr spc="-11" dirty="0" smtClean="0">
                <a:solidFill>
                  <a:srgbClr val="5D100C"/>
                </a:solidFill>
                <a:latin typeface="Arial"/>
                <a:cs typeface="Arial"/>
              </a:rPr>
              <a:t>i</a:t>
            </a:r>
            <a:r>
              <a:rPr dirty="0" smtClean="0">
                <a:solidFill>
                  <a:srgbClr val="5D100C"/>
                </a:solidFill>
                <a:latin typeface="Arial"/>
                <a:cs typeface="Arial"/>
              </a:rPr>
              <a:t>d</a:t>
            </a:r>
            <a:endParaRPr dirty="0">
              <a:latin typeface="Arial"/>
              <a:cs typeface="Arial"/>
            </a:endParaRPr>
          </a:p>
        </p:txBody>
      </p:sp>
      <p:sp>
        <p:nvSpPr>
          <p:cNvPr id="21" name="object 9"/>
          <p:cNvSpPr>
            <a:spLocks noChangeArrowheads="1"/>
          </p:cNvSpPr>
          <p:nvPr/>
        </p:nvSpPr>
        <p:spPr bwMode="auto">
          <a:xfrm>
            <a:off x="5469090" y="5257878"/>
            <a:ext cx="4308767" cy="266044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24" name="object 10"/>
          <p:cNvSpPr>
            <a:spLocks/>
          </p:cNvSpPr>
          <p:nvPr/>
        </p:nvSpPr>
        <p:spPr bwMode="auto">
          <a:xfrm>
            <a:off x="5516342" y="5326141"/>
            <a:ext cx="4128507" cy="85764"/>
          </a:xfrm>
          <a:custGeom>
            <a:avLst/>
            <a:gdLst>
              <a:gd name="T0" fmla="*/ 3667365 w 3744595"/>
              <a:gd name="T1" fmla="*/ 0 h 78104"/>
              <a:gd name="T2" fmla="*/ 3667365 w 3744595"/>
              <a:gd name="T3" fmla="*/ 77094 h 78104"/>
              <a:gd name="T4" fmla="*/ 3719191 w 3744595"/>
              <a:gd name="T5" fmla="*/ 51396 h 78104"/>
              <a:gd name="T6" fmla="*/ 3680322 w 3744595"/>
              <a:gd name="T7" fmla="*/ 51396 h 78104"/>
              <a:gd name="T8" fmla="*/ 3680322 w 3744595"/>
              <a:gd name="T9" fmla="*/ 25697 h 78104"/>
              <a:gd name="T10" fmla="*/ 3719191 w 3744595"/>
              <a:gd name="T11" fmla="*/ 25697 h 78104"/>
              <a:gd name="T12" fmla="*/ 3667365 w 3744595"/>
              <a:gd name="T13" fmla="*/ 0 h 78104"/>
              <a:gd name="T14" fmla="*/ 3667365 w 3744595"/>
              <a:gd name="T15" fmla="*/ 25697 h 78104"/>
              <a:gd name="T16" fmla="*/ 0 w 3744595"/>
              <a:gd name="T17" fmla="*/ 25697 h 78104"/>
              <a:gd name="T18" fmla="*/ 0 w 3744595"/>
              <a:gd name="T19" fmla="*/ 51396 h 78104"/>
              <a:gd name="T20" fmla="*/ 3667365 w 3744595"/>
              <a:gd name="T21" fmla="*/ 51396 h 78104"/>
              <a:gd name="T22" fmla="*/ 3667365 w 3744595"/>
              <a:gd name="T23" fmla="*/ 25697 h 78104"/>
              <a:gd name="T24" fmla="*/ 3719191 w 3744595"/>
              <a:gd name="T25" fmla="*/ 25697 h 78104"/>
              <a:gd name="T26" fmla="*/ 3680322 w 3744595"/>
              <a:gd name="T27" fmla="*/ 25697 h 78104"/>
              <a:gd name="T28" fmla="*/ 3680322 w 3744595"/>
              <a:gd name="T29" fmla="*/ 51396 h 78104"/>
              <a:gd name="T30" fmla="*/ 3719191 w 3744595"/>
              <a:gd name="T31" fmla="*/ 51396 h 78104"/>
              <a:gd name="T32" fmla="*/ 3745103 w 3744595"/>
              <a:gd name="T33" fmla="*/ 38546 h 78104"/>
              <a:gd name="T34" fmla="*/ 3719191 w 3744595"/>
              <a:gd name="T35" fmla="*/ 25697 h 7810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744595" h="78104">
                <a:moveTo>
                  <a:pt x="3666743" y="0"/>
                </a:moveTo>
                <a:lnTo>
                  <a:pt x="3666743" y="77723"/>
                </a:lnTo>
                <a:lnTo>
                  <a:pt x="3718559" y="51815"/>
                </a:lnTo>
                <a:lnTo>
                  <a:pt x="3679697" y="51815"/>
                </a:lnTo>
                <a:lnTo>
                  <a:pt x="3679697" y="25907"/>
                </a:lnTo>
                <a:lnTo>
                  <a:pt x="3718559" y="25907"/>
                </a:lnTo>
                <a:lnTo>
                  <a:pt x="3666743" y="0"/>
                </a:lnTo>
                <a:close/>
              </a:path>
              <a:path w="3744595" h="78104">
                <a:moveTo>
                  <a:pt x="3666743" y="25907"/>
                </a:moveTo>
                <a:lnTo>
                  <a:pt x="0" y="25907"/>
                </a:lnTo>
                <a:lnTo>
                  <a:pt x="0" y="51815"/>
                </a:lnTo>
                <a:lnTo>
                  <a:pt x="3666743" y="51815"/>
                </a:lnTo>
                <a:lnTo>
                  <a:pt x="3666743" y="25907"/>
                </a:lnTo>
                <a:close/>
              </a:path>
              <a:path w="3744595" h="78104">
                <a:moveTo>
                  <a:pt x="3718559" y="25907"/>
                </a:moveTo>
                <a:lnTo>
                  <a:pt x="3679697" y="25907"/>
                </a:lnTo>
                <a:lnTo>
                  <a:pt x="3679697" y="51815"/>
                </a:lnTo>
                <a:lnTo>
                  <a:pt x="3718559" y="51815"/>
                </a:lnTo>
                <a:lnTo>
                  <a:pt x="3744467" y="38861"/>
                </a:lnTo>
                <a:lnTo>
                  <a:pt x="3718559" y="2590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25" name="object 11"/>
          <p:cNvSpPr>
            <a:spLocks noChangeArrowheads="1"/>
          </p:cNvSpPr>
          <p:nvPr/>
        </p:nvSpPr>
        <p:spPr bwMode="auto">
          <a:xfrm>
            <a:off x="5383334" y="1526255"/>
            <a:ext cx="266016" cy="3911904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27" name="object 12"/>
          <p:cNvSpPr>
            <a:spLocks/>
          </p:cNvSpPr>
          <p:nvPr/>
        </p:nvSpPr>
        <p:spPr bwMode="auto">
          <a:xfrm>
            <a:off x="5474339" y="1638274"/>
            <a:ext cx="85756" cy="3731623"/>
          </a:xfrm>
          <a:custGeom>
            <a:avLst/>
            <a:gdLst>
              <a:gd name="T0" fmla="*/ 51396 w 78104"/>
              <a:gd name="T1" fmla="*/ 64769 h 3384550"/>
              <a:gd name="T2" fmla="*/ 25698 w 78104"/>
              <a:gd name="T3" fmla="*/ 64769 h 3384550"/>
              <a:gd name="T4" fmla="*/ 25698 w 78104"/>
              <a:gd name="T5" fmla="*/ 3384438 h 3384550"/>
              <a:gd name="T6" fmla="*/ 51396 w 78104"/>
              <a:gd name="T7" fmla="*/ 3384438 h 3384550"/>
              <a:gd name="T8" fmla="*/ 51396 w 78104"/>
              <a:gd name="T9" fmla="*/ 64769 h 3384550"/>
              <a:gd name="T10" fmla="*/ 38547 w 78104"/>
              <a:gd name="T11" fmla="*/ 0 h 3384550"/>
              <a:gd name="T12" fmla="*/ 0 w 78104"/>
              <a:gd name="T13" fmla="*/ 77723 h 3384550"/>
              <a:gd name="T14" fmla="*/ 25698 w 78104"/>
              <a:gd name="T15" fmla="*/ 77723 h 3384550"/>
              <a:gd name="T16" fmla="*/ 25698 w 78104"/>
              <a:gd name="T17" fmla="*/ 64769 h 3384550"/>
              <a:gd name="T18" fmla="*/ 70671 w 78104"/>
              <a:gd name="T19" fmla="*/ 64769 h 3384550"/>
              <a:gd name="T20" fmla="*/ 38547 w 78104"/>
              <a:gd name="T21" fmla="*/ 0 h 3384550"/>
              <a:gd name="T22" fmla="*/ 70671 w 78104"/>
              <a:gd name="T23" fmla="*/ 64769 h 3384550"/>
              <a:gd name="T24" fmla="*/ 51396 w 78104"/>
              <a:gd name="T25" fmla="*/ 64769 h 3384550"/>
              <a:gd name="T26" fmla="*/ 51396 w 78104"/>
              <a:gd name="T27" fmla="*/ 77723 h 3384550"/>
              <a:gd name="T28" fmla="*/ 77096 w 78104"/>
              <a:gd name="T29" fmla="*/ 77723 h 3384550"/>
              <a:gd name="T30" fmla="*/ 70671 w 78104"/>
              <a:gd name="T31" fmla="*/ 64769 h 33845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78104" h="3384550">
                <a:moveTo>
                  <a:pt x="51815" y="64769"/>
                </a:moveTo>
                <a:lnTo>
                  <a:pt x="25907" y="64769"/>
                </a:lnTo>
                <a:lnTo>
                  <a:pt x="25907" y="3384438"/>
                </a:lnTo>
                <a:lnTo>
                  <a:pt x="51815" y="3384438"/>
                </a:lnTo>
                <a:lnTo>
                  <a:pt x="51815" y="64769"/>
                </a:lnTo>
                <a:close/>
              </a:path>
              <a:path w="78104" h="3384550">
                <a:moveTo>
                  <a:pt x="38861" y="0"/>
                </a:moveTo>
                <a:lnTo>
                  <a:pt x="0" y="77723"/>
                </a:lnTo>
                <a:lnTo>
                  <a:pt x="25907" y="77723"/>
                </a:lnTo>
                <a:lnTo>
                  <a:pt x="25907" y="64769"/>
                </a:lnTo>
                <a:lnTo>
                  <a:pt x="71246" y="64769"/>
                </a:lnTo>
                <a:lnTo>
                  <a:pt x="38861" y="0"/>
                </a:lnTo>
                <a:close/>
              </a:path>
              <a:path w="78104" h="3384550">
                <a:moveTo>
                  <a:pt x="71246" y="64769"/>
                </a:moveTo>
                <a:lnTo>
                  <a:pt x="51815" y="64769"/>
                </a:lnTo>
                <a:lnTo>
                  <a:pt x="51815" y="77723"/>
                </a:lnTo>
                <a:lnTo>
                  <a:pt x="77723" y="77723"/>
                </a:lnTo>
                <a:lnTo>
                  <a:pt x="71246" y="6476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28" name="object 13"/>
          <p:cNvSpPr txBox="1"/>
          <p:nvPr/>
        </p:nvSpPr>
        <p:spPr>
          <a:xfrm>
            <a:off x="7271701" y="5522173"/>
            <a:ext cx="840052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6" dirty="0">
                <a:latin typeface="Calibri"/>
                <a:cs typeface="Calibri"/>
              </a:rPr>
              <a:t>I</a:t>
            </a:r>
            <a:r>
              <a:rPr sz="2000" b="1" spc="-22" dirty="0">
                <a:latin typeface="Calibri"/>
                <a:cs typeface="Calibri"/>
              </a:rPr>
              <a:t>n</a:t>
            </a:r>
            <a:r>
              <a:rPr sz="2000" b="1" spc="-39" dirty="0">
                <a:latin typeface="Calibri"/>
                <a:cs typeface="Calibri"/>
              </a:rPr>
              <a:t>t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3" dirty="0">
                <a:latin typeface="Calibri"/>
                <a:cs typeface="Calibri"/>
              </a:rPr>
              <a:t>r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9" dirty="0">
                <a:latin typeface="Calibri"/>
                <a:cs typeface="Calibri"/>
              </a:rPr>
              <a:t>s</a:t>
            </a:r>
            <a:r>
              <a:rPr sz="2000" b="1" spc="-11" dirty="0">
                <a:latin typeface="Calibri"/>
                <a:cs typeface="Calibri"/>
              </a:rPr>
              <a:t>t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29" name="object 14"/>
          <p:cNvSpPr txBox="1"/>
          <p:nvPr/>
        </p:nvSpPr>
        <p:spPr>
          <a:xfrm>
            <a:off x="4665789" y="3224038"/>
            <a:ext cx="700043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28" dirty="0">
                <a:latin typeface="Calibri"/>
                <a:cs typeface="Calibri"/>
              </a:rPr>
              <a:t>P</a:t>
            </a:r>
            <a:r>
              <a:rPr sz="2000" b="1" spc="-11" dirty="0">
                <a:latin typeface="Calibri"/>
                <a:cs typeface="Calibri"/>
              </a:rPr>
              <a:t>o</a:t>
            </a:r>
            <a:r>
              <a:rPr sz="2000" b="1" spc="-28" dirty="0">
                <a:latin typeface="Calibri"/>
                <a:cs typeface="Calibri"/>
              </a:rPr>
              <a:t>w</a:t>
            </a:r>
            <a:r>
              <a:rPr sz="2000" b="1" dirty="0">
                <a:latin typeface="Calibri"/>
                <a:cs typeface="Calibri"/>
              </a:rPr>
              <a:t>er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0" name="object 15"/>
          <p:cNvSpPr txBox="1"/>
          <p:nvPr/>
        </p:nvSpPr>
        <p:spPr>
          <a:xfrm>
            <a:off x="4730544" y="1720538"/>
            <a:ext cx="493531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</a:p>
        </p:txBody>
      </p:sp>
      <p:sp>
        <p:nvSpPr>
          <p:cNvPr id="31" name="object 16"/>
          <p:cNvSpPr txBox="1"/>
          <p:nvPr/>
        </p:nvSpPr>
        <p:spPr>
          <a:xfrm>
            <a:off x="8859050" y="5522173"/>
            <a:ext cx="493531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2" name="object 17"/>
          <p:cNvSpPr txBox="1"/>
          <p:nvPr/>
        </p:nvSpPr>
        <p:spPr>
          <a:xfrm>
            <a:off x="5603848" y="5522173"/>
            <a:ext cx="446278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3" name="object 18"/>
          <p:cNvSpPr txBox="1"/>
          <p:nvPr/>
        </p:nvSpPr>
        <p:spPr>
          <a:xfrm>
            <a:off x="4730544" y="4970830"/>
            <a:ext cx="446277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4" name="object 19"/>
          <p:cNvSpPr>
            <a:spLocks/>
          </p:cNvSpPr>
          <p:nvPr/>
        </p:nvSpPr>
        <p:spPr bwMode="auto">
          <a:xfrm>
            <a:off x="7581470" y="1636524"/>
            <a:ext cx="0" cy="3731623"/>
          </a:xfrm>
          <a:custGeom>
            <a:avLst/>
            <a:gdLst>
              <a:gd name="T0" fmla="*/ 0 h 3384550"/>
              <a:gd name="T1" fmla="*/ 3384422 h 338455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3384550">
                <a:moveTo>
                  <a:pt x="0" y="0"/>
                </a:moveTo>
                <a:lnTo>
                  <a:pt x="0" y="3384422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35" name="object 20"/>
          <p:cNvSpPr>
            <a:spLocks/>
          </p:cNvSpPr>
          <p:nvPr/>
        </p:nvSpPr>
        <p:spPr bwMode="auto">
          <a:xfrm>
            <a:off x="5516342" y="3547843"/>
            <a:ext cx="4060252" cy="0"/>
          </a:xfrm>
          <a:custGeom>
            <a:avLst/>
            <a:gdLst>
              <a:gd name="T0" fmla="*/ 0 w 3683000"/>
              <a:gd name="T1" fmla="*/ 3682745 w 368300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3683000">
                <a:moveTo>
                  <a:pt x="0" y="0"/>
                </a:moveTo>
                <a:lnTo>
                  <a:pt x="3682745" y="0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36" name="object 21"/>
          <p:cNvSpPr txBox="1">
            <a:spLocks noChangeArrowheads="1"/>
          </p:cNvSpPr>
          <p:nvPr/>
        </p:nvSpPr>
        <p:spPr bwMode="auto">
          <a:xfrm>
            <a:off x="6167383" y="2275380"/>
            <a:ext cx="922308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166688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 b="1">
                <a:cs typeface="Calibri" pitchFamily="34" charset="0"/>
              </a:rPr>
              <a:t>Keep</a:t>
            </a:r>
            <a:r>
              <a:rPr lang="hu-HU" altLang="hu-HU" sz="20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>
                <a:cs typeface="Calibri" pitchFamily="34" charset="0"/>
              </a:rPr>
              <a:t>Satisfied</a:t>
            </a:r>
            <a:endParaRPr lang="hu-HU" altLang="hu-HU" sz="2000">
              <a:cs typeface="Calibri" pitchFamily="34" charset="0"/>
            </a:endParaRPr>
          </a:p>
        </p:txBody>
      </p:sp>
      <p:sp>
        <p:nvSpPr>
          <p:cNvPr id="37" name="object 22"/>
          <p:cNvSpPr txBox="1"/>
          <p:nvPr/>
        </p:nvSpPr>
        <p:spPr>
          <a:xfrm>
            <a:off x="6181383" y="4174448"/>
            <a:ext cx="896056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22" dirty="0">
                <a:latin typeface="Calibri"/>
                <a:cs typeface="Calibri"/>
              </a:rPr>
              <a:t>M</a:t>
            </a:r>
            <a:r>
              <a:rPr sz="2000" b="1" spc="-6" dirty="0">
                <a:latin typeface="Calibri"/>
                <a:cs typeface="Calibri"/>
              </a:rPr>
              <a:t>oni</a:t>
            </a:r>
            <a:r>
              <a:rPr sz="2000" b="1" spc="-28" dirty="0">
                <a:latin typeface="Calibri"/>
                <a:cs typeface="Calibri"/>
              </a:rPr>
              <a:t>t</a:t>
            </a:r>
            <a:r>
              <a:rPr sz="2000" b="1" spc="-11" dirty="0">
                <a:latin typeface="Calibri"/>
                <a:cs typeface="Calibri"/>
              </a:rPr>
              <a:t>o</a:t>
            </a:r>
            <a:r>
              <a:rPr sz="2000" b="1" dirty="0">
                <a:latin typeface="Calibri"/>
                <a:cs typeface="Calibri"/>
              </a:rPr>
              <a:t>r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38" name="object 23"/>
          <p:cNvSpPr txBox="1">
            <a:spLocks noChangeArrowheads="1"/>
          </p:cNvSpPr>
          <p:nvPr/>
        </p:nvSpPr>
        <p:spPr bwMode="auto">
          <a:xfrm>
            <a:off x="8272764" y="4174448"/>
            <a:ext cx="999311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201613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 b="1">
                <a:cs typeface="Calibri" pitchFamily="34" charset="0"/>
              </a:rPr>
              <a:t>Keep</a:t>
            </a:r>
            <a:r>
              <a:rPr lang="hu-HU" altLang="hu-HU" sz="20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>
                <a:cs typeface="Calibri" pitchFamily="34" charset="0"/>
              </a:rPr>
              <a:t>Informed</a:t>
            </a:r>
            <a:endParaRPr lang="hu-HU" altLang="hu-HU" sz="2000">
              <a:cs typeface="Calibri" pitchFamily="34" charset="0"/>
            </a:endParaRPr>
          </a:p>
        </p:txBody>
      </p:sp>
      <p:sp>
        <p:nvSpPr>
          <p:cNvPr id="39" name="object 24"/>
          <p:cNvSpPr txBox="1">
            <a:spLocks noChangeArrowheads="1"/>
          </p:cNvSpPr>
          <p:nvPr/>
        </p:nvSpPr>
        <p:spPr bwMode="auto">
          <a:xfrm>
            <a:off x="8255263" y="2291134"/>
            <a:ext cx="875054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60325" indent="-47625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 b="1">
                <a:cs typeface="Calibri" pitchFamily="34" charset="0"/>
              </a:rPr>
              <a:t>Manage</a:t>
            </a:r>
            <a:r>
              <a:rPr lang="hu-HU" altLang="hu-HU" sz="2000" b="1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>
                <a:cs typeface="Calibri" pitchFamily="34" charset="0"/>
              </a:rPr>
              <a:t>Closely</a:t>
            </a:r>
            <a:endParaRPr lang="hu-HU" altLang="hu-HU" sz="2000"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857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</a:t>
            </a:r>
            <a:r>
              <a:rPr lang="en-US" spc="-17" dirty="0" smtClean="0"/>
              <a:t>k</a:t>
            </a:r>
            <a:r>
              <a:rPr lang="en-US" spc="-6" dirty="0" smtClean="0"/>
              <a:t>e</a:t>
            </a:r>
            <a:r>
              <a:rPr lang="en-US" spc="-11" dirty="0" smtClean="0"/>
              <a:t>h</a:t>
            </a:r>
            <a:r>
              <a:rPr lang="en-US" dirty="0" smtClean="0"/>
              <a:t>old</a:t>
            </a:r>
            <a:r>
              <a:rPr lang="en-US" spc="-11" dirty="0" smtClean="0"/>
              <a:t>e</a:t>
            </a:r>
            <a:r>
              <a:rPr lang="en-US" dirty="0" smtClean="0"/>
              <a:t>r</a:t>
            </a:r>
            <a:r>
              <a:rPr lang="en-US" spc="72" dirty="0" smtClean="0">
                <a:latin typeface="Times New Roman"/>
                <a:cs typeface="Times New Roman"/>
              </a:rPr>
              <a:t> </a:t>
            </a:r>
            <a:r>
              <a:rPr lang="en-US" spc="-6" dirty="0" smtClean="0"/>
              <a:t>anal</a:t>
            </a:r>
            <a:r>
              <a:rPr lang="en-US" spc="-33" dirty="0" smtClean="0"/>
              <a:t>y</a:t>
            </a:r>
            <a:r>
              <a:rPr lang="en-US" spc="-6" dirty="0" smtClean="0"/>
              <a:t>sis - Example</a:t>
            </a:r>
            <a:endParaRPr lang="en-US" dirty="0"/>
          </a:p>
        </p:txBody>
      </p:sp>
      <p:sp>
        <p:nvSpPr>
          <p:cNvPr id="26" name="object 2"/>
          <p:cNvSpPr txBox="1">
            <a:spLocks noChangeArrowheads="1"/>
          </p:cNvSpPr>
          <p:nvPr/>
        </p:nvSpPr>
        <p:spPr bwMode="auto">
          <a:xfrm>
            <a:off x="6545406" y="1401984"/>
            <a:ext cx="2724919" cy="3400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469900" indent="-4572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tabLst>
                <a:tab pos="469900" algn="l"/>
              </a:tabLs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CEO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Project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manager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Sub-contractor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ead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of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finance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ead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of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R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Real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estate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agency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ts val="524"/>
              </a:spcBef>
              <a:buClr>
                <a:srgbClr val="5D100C"/>
              </a:buClr>
              <a:buFontTx/>
              <a:buAutoNum type="arabicPeriod"/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Head</a:t>
            </a:r>
            <a:r>
              <a:rPr lang="hu-HU" altLang="hu-HU" sz="2200" b="1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of</a:t>
            </a:r>
            <a:endParaRPr lang="hu-HU" altLang="hu-HU" sz="2200">
              <a:latin typeface="Arial" charset="0"/>
            </a:endParaRPr>
          </a:p>
          <a:p>
            <a:pPr eaLnBrk="1" hangingPunct="1">
              <a:spcBef>
                <a:spcPct val="0"/>
              </a:spcBef>
            </a:pPr>
            <a:r>
              <a:rPr lang="hu-HU" altLang="hu-HU" sz="2200" b="1">
                <a:solidFill>
                  <a:srgbClr val="5D100C"/>
                </a:solidFill>
                <a:latin typeface="Arial" charset="0"/>
              </a:rPr>
              <a:t>development</a:t>
            </a:r>
            <a:endParaRPr lang="hu-HU" altLang="hu-HU" sz="2200">
              <a:latin typeface="Arial" charset="0"/>
            </a:endParaRPr>
          </a:p>
        </p:txBody>
      </p:sp>
      <p:sp>
        <p:nvSpPr>
          <p:cNvPr id="42" name="object 4"/>
          <p:cNvSpPr>
            <a:spLocks/>
          </p:cNvSpPr>
          <p:nvPr/>
        </p:nvSpPr>
        <p:spPr bwMode="auto">
          <a:xfrm>
            <a:off x="584537" y="1060678"/>
            <a:ext cx="5080566" cy="5240375"/>
          </a:xfrm>
          <a:custGeom>
            <a:avLst/>
            <a:gdLst>
              <a:gd name="T0" fmla="*/ 2546 w 4608830"/>
              <a:gd name="T1" fmla="*/ 705290 h 4752340"/>
              <a:gd name="T2" fmla="*/ 22318 w 4608830"/>
              <a:gd name="T3" fmla="*/ 583675 h 4752340"/>
              <a:gd name="T4" fmla="*/ 60352 w 4608830"/>
              <a:gd name="T5" fmla="*/ 469251 h 4752340"/>
              <a:gd name="T6" fmla="*/ 115062 w 4608830"/>
              <a:gd name="T7" fmla="*/ 363601 h 4752340"/>
              <a:gd name="T8" fmla="*/ 184868 w 4608830"/>
              <a:gd name="T9" fmla="*/ 268306 h 4752340"/>
              <a:gd name="T10" fmla="*/ 268191 w 4608830"/>
              <a:gd name="T11" fmla="*/ 184950 h 4752340"/>
              <a:gd name="T12" fmla="*/ 363445 w 4608830"/>
              <a:gd name="T13" fmla="*/ 115112 h 4752340"/>
              <a:gd name="T14" fmla="*/ 469054 w 4608830"/>
              <a:gd name="T15" fmla="*/ 60379 h 4752340"/>
              <a:gd name="T16" fmla="*/ 583433 w 4608830"/>
              <a:gd name="T17" fmla="*/ 22329 h 4752340"/>
              <a:gd name="T18" fmla="*/ 705004 w 4608830"/>
              <a:gd name="T19" fmla="*/ 2546 h 4752340"/>
              <a:gd name="T20" fmla="*/ 3839951 w 4608830"/>
              <a:gd name="T21" fmla="*/ 0 h 4752340"/>
              <a:gd name="T22" fmla="*/ 3964518 w 4608830"/>
              <a:gd name="T23" fmla="*/ 10055 h 4752340"/>
              <a:gd name="T24" fmla="*/ 4082688 w 4608830"/>
              <a:gd name="T25" fmla="*/ 39169 h 4752340"/>
              <a:gd name="T26" fmla="*/ 4192880 w 4608830"/>
              <a:gd name="T27" fmla="*/ 85758 h 4752340"/>
              <a:gd name="T28" fmla="*/ 4293509 w 4608830"/>
              <a:gd name="T29" fmla="*/ 148243 h 4752340"/>
              <a:gd name="T30" fmla="*/ 4382996 w 4608830"/>
              <a:gd name="T31" fmla="*/ 225036 h 4752340"/>
              <a:gd name="T32" fmla="*/ 4459758 w 4608830"/>
              <a:gd name="T33" fmla="*/ 314560 h 4752340"/>
              <a:gd name="T34" fmla="*/ 4522217 w 4608830"/>
              <a:gd name="T35" fmla="*/ 415229 h 4752340"/>
              <a:gd name="T36" fmla="*/ 4568788 w 4608830"/>
              <a:gd name="T37" fmla="*/ 525464 h 4752340"/>
              <a:gd name="T38" fmla="*/ 4597890 w 4608830"/>
              <a:gd name="T39" fmla="*/ 643683 h 4752340"/>
              <a:gd name="T40" fmla="*/ 4607941 w 4608830"/>
              <a:gd name="T41" fmla="*/ 768301 h 4752340"/>
              <a:gd name="T42" fmla="*/ 4605395 w 4608830"/>
              <a:gd name="T43" fmla="*/ 4047810 h 4752340"/>
              <a:gd name="T44" fmla="*/ 4585621 w 4608830"/>
              <a:gd name="T45" fmla="*/ 4169424 h 4752340"/>
              <a:gd name="T46" fmla="*/ 4547586 w 4608830"/>
              <a:gd name="T47" fmla="*/ 4283847 h 4752340"/>
              <a:gd name="T48" fmla="*/ 4492875 w 4608830"/>
              <a:gd name="T49" fmla="*/ 4389497 h 4752340"/>
              <a:gd name="T50" fmla="*/ 4423067 w 4608830"/>
              <a:gd name="T51" fmla="*/ 4484792 h 4752340"/>
              <a:gd name="T52" fmla="*/ 4339743 w 4608830"/>
              <a:gd name="T53" fmla="*/ 4568149 h 4752340"/>
              <a:gd name="T54" fmla="*/ 4244488 w 4608830"/>
              <a:gd name="T55" fmla="*/ 4637987 h 4752340"/>
              <a:gd name="T56" fmla="*/ 4138880 w 4608830"/>
              <a:gd name="T57" fmla="*/ 4692721 h 4752340"/>
              <a:gd name="T58" fmla="*/ 4024502 w 4608830"/>
              <a:gd name="T59" fmla="*/ 4730771 h 4752340"/>
              <a:gd name="T60" fmla="*/ 3902937 w 4608830"/>
              <a:gd name="T61" fmla="*/ 4750555 h 4752340"/>
              <a:gd name="T62" fmla="*/ 767989 w 4608830"/>
              <a:gd name="T63" fmla="*/ 4753101 h 4752340"/>
              <a:gd name="T64" fmla="*/ 643418 w 4608830"/>
              <a:gd name="T65" fmla="*/ 4743046 h 4752340"/>
              <a:gd name="T66" fmla="*/ 525245 w 4608830"/>
              <a:gd name="T67" fmla="*/ 4713931 h 4752340"/>
              <a:gd name="T68" fmla="*/ 415053 w 4608830"/>
              <a:gd name="T69" fmla="*/ 4667340 h 4752340"/>
              <a:gd name="T70" fmla="*/ 314424 w 4608830"/>
              <a:gd name="T71" fmla="*/ 4604857 h 4752340"/>
              <a:gd name="T72" fmla="*/ 224939 w 4608830"/>
              <a:gd name="T73" fmla="*/ 4528062 h 4752340"/>
              <a:gd name="T74" fmla="*/ 148177 w 4608830"/>
              <a:gd name="T75" fmla="*/ 4438539 h 4752340"/>
              <a:gd name="T76" fmla="*/ 85721 w 4608830"/>
              <a:gd name="T77" fmla="*/ 4337868 h 4752340"/>
              <a:gd name="T78" fmla="*/ 39151 w 4608830"/>
              <a:gd name="T79" fmla="*/ 4227634 h 4752340"/>
              <a:gd name="T80" fmla="*/ 10051 w 4608830"/>
              <a:gd name="T81" fmla="*/ 4109417 h 4752340"/>
              <a:gd name="T82" fmla="*/ 0 w 4608830"/>
              <a:gd name="T83" fmla="*/ 3984799 h 4752340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4608830" h="4752340">
                <a:moveTo>
                  <a:pt x="0" y="768095"/>
                </a:moveTo>
                <a:lnTo>
                  <a:pt x="2546" y="705102"/>
                </a:lnTo>
                <a:lnTo>
                  <a:pt x="10053" y="643511"/>
                </a:lnTo>
                <a:lnTo>
                  <a:pt x="22322" y="583519"/>
                </a:lnTo>
                <a:lnTo>
                  <a:pt x="39157" y="525324"/>
                </a:lnTo>
                <a:lnTo>
                  <a:pt x="60360" y="469125"/>
                </a:lnTo>
                <a:lnTo>
                  <a:pt x="85733" y="415119"/>
                </a:lnTo>
                <a:lnTo>
                  <a:pt x="115078" y="363503"/>
                </a:lnTo>
                <a:lnTo>
                  <a:pt x="148197" y="314476"/>
                </a:lnTo>
                <a:lnTo>
                  <a:pt x="184894" y="268234"/>
                </a:lnTo>
                <a:lnTo>
                  <a:pt x="224969" y="224976"/>
                </a:lnTo>
                <a:lnTo>
                  <a:pt x="268227" y="184900"/>
                </a:lnTo>
                <a:lnTo>
                  <a:pt x="314468" y="148203"/>
                </a:lnTo>
                <a:lnTo>
                  <a:pt x="363495" y="115082"/>
                </a:lnTo>
                <a:lnTo>
                  <a:pt x="415111" y="85736"/>
                </a:lnTo>
                <a:lnTo>
                  <a:pt x="469118" y="60363"/>
                </a:lnTo>
                <a:lnTo>
                  <a:pt x="525317" y="39159"/>
                </a:lnTo>
                <a:lnTo>
                  <a:pt x="583513" y="22323"/>
                </a:lnTo>
                <a:lnTo>
                  <a:pt x="643506" y="10053"/>
                </a:lnTo>
                <a:lnTo>
                  <a:pt x="705100" y="2546"/>
                </a:lnTo>
                <a:lnTo>
                  <a:pt x="768095" y="0"/>
                </a:lnTo>
                <a:lnTo>
                  <a:pt x="3840479" y="0"/>
                </a:lnTo>
                <a:lnTo>
                  <a:pt x="3903473" y="2546"/>
                </a:lnTo>
                <a:lnTo>
                  <a:pt x="3965064" y="10053"/>
                </a:lnTo>
                <a:lnTo>
                  <a:pt x="4025056" y="22323"/>
                </a:lnTo>
                <a:lnTo>
                  <a:pt x="4083250" y="39159"/>
                </a:lnTo>
                <a:lnTo>
                  <a:pt x="4139450" y="60363"/>
                </a:lnTo>
                <a:lnTo>
                  <a:pt x="4193456" y="85736"/>
                </a:lnTo>
                <a:lnTo>
                  <a:pt x="4245072" y="115082"/>
                </a:lnTo>
                <a:lnTo>
                  <a:pt x="4294099" y="148203"/>
                </a:lnTo>
                <a:lnTo>
                  <a:pt x="4340341" y="184900"/>
                </a:lnTo>
                <a:lnTo>
                  <a:pt x="4383599" y="224976"/>
                </a:lnTo>
                <a:lnTo>
                  <a:pt x="4423675" y="268234"/>
                </a:lnTo>
                <a:lnTo>
                  <a:pt x="4460372" y="314476"/>
                </a:lnTo>
                <a:lnTo>
                  <a:pt x="4493493" y="363503"/>
                </a:lnTo>
                <a:lnTo>
                  <a:pt x="4522839" y="415119"/>
                </a:lnTo>
                <a:lnTo>
                  <a:pt x="4548212" y="469125"/>
                </a:lnTo>
                <a:lnTo>
                  <a:pt x="4569416" y="525324"/>
                </a:lnTo>
                <a:lnTo>
                  <a:pt x="4586251" y="583519"/>
                </a:lnTo>
                <a:lnTo>
                  <a:pt x="4598522" y="643511"/>
                </a:lnTo>
                <a:lnTo>
                  <a:pt x="4606029" y="705102"/>
                </a:lnTo>
                <a:lnTo>
                  <a:pt x="4608575" y="768095"/>
                </a:lnTo>
                <a:lnTo>
                  <a:pt x="4608575" y="3983735"/>
                </a:lnTo>
                <a:lnTo>
                  <a:pt x="4606029" y="4046728"/>
                </a:lnTo>
                <a:lnTo>
                  <a:pt x="4598522" y="4108319"/>
                </a:lnTo>
                <a:lnTo>
                  <a:pt x="4586251" y="4168310"/>
                </a:lnTo>
                <a:lnTo>
                  <a:pt x="4569416" y="4226504"/>
                </a:lnTo>
                <a:lnTo>
                  <a:pt x="4548212" y="4282703"/>
                </a:lnTo>
                <a:lnTo>
                  <a:pt x="4522839" y="4336709"/>
                </a:lnTo>
                <a:lnTo>
                  <a:pt x="4493493" y="4388325"/>
                </a:lnTo>
                <a:lnTo>
                  <a:pt x="4460372" y="4437353"/>
                </a:lnTo>
                <a:lnTo>
                  <a:pt x="4423675" y="4483594"/>
                </a:lnTo>
                <a:lnTo>
                  <a:pt x="4383599" y="4526852"/>
                </a:lnTo>
                <a:lnTo>
                  <a:pt x="4340341" y="4566929"/>
                </a:lnTo>
                <a:lnTo>
                  <a:pt x="4294099" y="4603627"/>
                </a:lnTo>
                <a:lnTo>
                  <a:pt x="4245072" y="4636747"/>
                </a:lnTo>
                <a:lnTo>
                  <a:pt x="4193456" y="4666093"/>
                </a:lnTo>
                <a:lnTo>
                  <a:pt x="4139450" y="4691467"/>
                </a:lnTo>
                <a:lnTo>
                  <a:pt x="4083250" y="4712671"/>
                </a:lnTo>
                <a:lnTo>
                  <a:pt x="4025056" y="4729507"/>
                </a:lnTo>
                <a:lnTo>
                  <a:pt x="3965064" y="4741778"/>
                </a:lnTo>
                <a:lnTo>
                  <a:pt x="3903473" y="4749285"/>
                </a:lnTo>
                <a:lnTo>
                  <a:pt x="3840479" y="4751831"/>
                </a:lnTo>
                <a:lnTo>
                  <a:pt x="768095" y="4751831"/>
                </a:lnTo>
                <a:lnTo>
                  <a:pt x="705100" y="4749285"/>
                </a:lnTo>
                <a:lnTo>
                  <a:pt x="643506" y="4741778"/>
                </a:lnTo>
                <a:lnTo>
                  <a:pt x="583513" y="4729507"/>
                </a:lnTo>
                <a:lnTo>
                  <a:pt x="525317" y="4712671"/>
                </a:lnTo>
                <a:lnTo>
                  <a:pt x="469118" y="4691467"/>
                </a:lnTo>
                <a:lnTo>
                  <a:pt x="415111" y="4666093"/>
                </a:lnTo>
                <a:lnTo>
                  <a:pt x="363495" y="4636747"/>
                </a:lnTo>
                <a:lnTo>
                  <a:pt x="314468" y="4603627"/>
                </a:lnTo>
                <a:lnTo>
                  <a:pt x="268227" y="4566929"/>
                </a:lnTo>
                <a:lnTo>
                  <a:pt x="224969" y="4526852"/>
                </a:lnTo>
                <a:lnTo>
                  <a:pt x="184894" y="4483594"/>
                </a:lnTo>
                <a:lnTo>
                  <a:pt x="148197" y="4437353"/>
                </a:lnTo>
                <a:lnTo>
                  <a:pt x="115078" y="4388325"/>
                </a:lnTo>
                <a:lnTo>
                  <a:pt x="85733" y="4336709"/>
                </a:lnTo>
                <a:lnTo>
                  <a:pt x="60360" y="4282703"/>
                </a:lnTo>
                <a:lnTo>
                  <a:pt x="39157" y="4226504"/>
                </a:lnTo>
                <a:lnTo>
                  <a:pt x="22322" y="4168310"/>
                </a:lnTo>
                <a:lnTo>
                  <a:pt x="10053" y="4108319"/>
                </a:lnTo>
                <a:lnTo>
                  <a:pt x="2546" y="4046728"/>
                </a:lnTo>
                <a:lnTo>
                  <a:pt x="0" y="3983735"/>
                </a:lnTo>
                <a:lnTo>
                  <a:pt x="0" y="768095"/>
                </a:lnTo>
                <a:close/>
              </a:path>
            </a:pathLst>
          </a:custGeom>
          <a:noFill/>
          <a:ln w="25907">
            <a:solidFill>
              <a:srgbClr val="4F80BC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43" name="object 5"/>
          <p:cNvSpPr>
            <a:spLocks noChangeArrowheads="1"/>
          </p:cNvSpPr>
          <p:nvPr/>
        </p:nvSpPr>
        <p:spPr bwMode="auto">
          <a:xfrm>
            <a:off x="1407088" y="5156361"/>
            <a:ext cx="4310518" cy="26779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44" name="object 6"/>
          <p:cNvSpPr>
            <a:spLocks/>
          </p:cNvSpPr>
          <p:nvPr/>
        </p:nvSpPr>
        <p:spPr bwMode="auto">
          <a:xfrm>
            <a:off x="1456091" y="5226373"/>
            <a:ext cx="4128507" cy="85765"/>
          </a:xfrm>
          <a:custGeom>
            <a:avLst/>
            <a:gdLst>
              <a:gd name="T0" fmla="*/ 3667365 w 3744595"/>
              <a:gd name="T1" fmla="*/ 0 h 78104"/>
              <a:gd name="T2" fmla="*/ 3667365 w 3744595"/>
              <a:gd name="T3" fmla="*/ 77096 h 78104"/>
              <a:gd name="T4" fmla="*/ 3719191 w 3744595"/>
              <a:gd name="T5" fmla="*/ 51396 h 78104"/>
              <a:gd name="T6" fmla="*/ 3680322 w 3744595"/>
              <a:gd name="T7" fmla="*/ 51396 h 78104"/>
              <a:gd name="T8" fmla="*/ 3680322 w 3744595"/>
              <a:gd name="T9" fmla="*/ 25698 h 78104"/>
              <a:gd name="T10" fmla="*/ 3719191 w 3744595"/>
              <a:gd name="T11" fmla="*/ 25698 h 78104"/>
              <a:gd name="T12" fmla="*/ 3667365 w 3744595"/>
              <a:gd name="T13" fmla="*/ 0 h 78104"/>
              <a:gd name="T14" fmla="*/ 3667365 w 3744595"/>
              <a:gd name="T15" fmla="*/ 25698 h 78104"/>
              <a:gd name="T16" fmla="*/ 0 w 3744595"/>
              <a:gd name="T17" fmla="*/ 25698 h 78104"/>
              <a:gd name="T18" fmla="*/ 0 w 3744595"/>
              <a:gd name="T19" fmla="*/ 51396 h 78104"/>
              <a:gd name="T20" fmla="*/ 3667365 w 3744595"/>
              <a:gd name="T21" fmla="*/ 51396 h 78104"/>
              <a:gd name="T22" fmla="*/ 3667365 w 3744595"/>
              <a:gd name="T23" fmla="*/ 25698 h 78104"/>
              <a:gd name="T24" fmla="*/ 3719191 w 3744595"/>
              <a:gd name="T25" fmla="*/ 25698 h 78104"/>
              <a:gd name="T26" fmla="*/ 3680322 w 3744595"/>
              <a:gd name="T27" fmla="*/ 25698 h 78104"/>
              <a:gd name="T28" fmla="*/ 3680322 w 3744595"/>
              <a:gd name="T29" fmla="*/ 51396 h 78104"/>
              <a:gd name="T30" fmla="*/ 3719191 w 3744595"/>
              <a:gd name="T31" fmla="*/ 51396 h 78104"/>
              <a:gd name="T32" fmla="*/ 3745103 w 3744595"/>
              <a:gd name="T33" fmla="*/ 38547 h 78104"/>
              <a:gd name="T34" fmla="*/ 3719191 w 3744595"/>
              <a:gd name="T35" fmla="*/ 25698 h 7810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0" t="0" r="r" b="b"/>
            <a:pathLst>
              <a:path w="3744595" h="78104">
                <a:moveTo>
                  <a:pt x="3666743" y="0"/>
                </a:moveTo>
                <a:lnTo>
                  <a:pt x="3666743" y="77723"/>
                </a:lnTo>
                <a:lnTo>
                  <a:pt x="3718559" y="51815"/>
                </a:lnTo>
                <a:lnTo>
                  <a:pt x="3679697" y="51815"/>
                </a:lnTo>
                <a:lnTo>
                  <a:pt x="3679697" y="25907"/>
                </a:lnTo>
                <a:lnTo>
                  <a:pt x="3718559" y="25907"/>
                </a:lnTo>
                <a:lnTo>
                  <a:pt x="3666743" y="0"/>
                </a:lnTo>
                <a:close/>
              </a:path>
              <a:path w="3744595" h="78104">
                <a:moveTo>
                  <a:pt x="3666743" y="25907"/>
                </a:moveTo>
                <a:lnTo>
                  <a:pt x="0" y="25907"/>
                </a:lnTo>
                <a:lnTo>
                  <a:pt x="0" y="51815"/>
                </a:lnTo>
                <a:lnTo>
                  <a:pt x="3666743" y="51815"/>
                </a:lnTo>
                <a:lnTo>
                  <a:pt x="3666743" y="25907"/>
                </a:lnTo>
                <a:close/>
              </a:path>
              <a:path w="3744595" h="78104">
                <a:moveTo>
                  <a:pt x="3718559" y="25907"/>
                </a:moveTo>
                <a:lnTo>
                  <a:pt x="3679697" y="25907"/>
                </a:lnTo>
                <a:lnTo>
                  <a:pt x="3679697" y="51815"/>
                </a:lnTo>
                <a:lnTo>
                  <a:pt x="3718559" y="51815"/>
                </a:lnTo>
                <a:lnTo>
                  <a:pt x="3744467" y="38861"/>
                </a:lnTo>
                <a:lnTo>
                  <a:pt x="3718559" y="25907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45" name="object 7"/>
          <p:cNvSpPr>
            <a:spLocks noChangeArrowheads="1"/>
          </p:cNvSpPr>
          <p:nvPr/>
        </p:nvSpPr>
        <p:spPr bwMode="auto">
          <a:xfrm>
            <a:off x="1323082" y="1424739"/>
            <a:ext cx="266016" cy="3911904"/>
          </a:xfrm>
          <a:prstGeom prst="rect">
            <a:avLst/>
          </a:prstGeom>
          <a:blipFill dpi="0" rotWithShape="1">
            <a:blip r:embed="rId4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46" name="object 8"/>
          <p:cNvSpPr>
            <a:spLocks/>
          </p:cNvSpPr>
          <p:nvPr/>
        </p:nvSpPr>
        <p:spPr bwMode="auto">
          <a:xfrm>
            <a:off x="1412339" y="1536757"/>
            <a:ext cx="87505" cy="3731623"/>
          </a:xfrm>
          <a:custGeom>
            <a:avLst/>
            <a:gdLst>
              <a:gd name="T0" fmla="*/ 53514 w 78105"/>
              <a:gd name="T1" fmla="*/ 64769 h 3384550"/>
              <a:gd name="T2" fmla="*/ 26756 w 78105"/>
              <a:gd name="T3" fmla="*/ 64769 h 3384550"/>
              <a:gd name="T4" fmla="*/ 26756 w 78105"/>
              <a:gd name="T5" fmla="*/ 3384438 h 3384550"/>
              <a:gd name="T6" fmla="*/ 53514 w 78105"/>
              <a:gd name="T7" fmla="*/ 3384438 h 3384550"/>
              <a:gd name="T8" fmla="*/ 53514 w 78105"/>
              <a:gd name="T9" fmla="*/ 64769 h 3384550"/>
              <a:gd name="T10" fmla="*/ 40135 w 78105"/>
              <a:gd name="T11" fmla="*/ 0 h 3384550"/>
              <a:gd name="T12" fmla="*/ 0 w 78105"/>
              <a:gd name="T13" fmla="*/ 77723 h 3384550"/>
              <a:gd name="T14" fmla="*/ 26756 w 78105"/>
              <a:gd name="T15" fmla="*/ 77723 h 3384550"/>
              <a:gd name="T16" fmla="*/ 26756 w 78105"/>
              <a:gd name="T17" fmla="*/ 64769 h 3384550"/>
              <a:gd name="T18" fmla="*/ 73581 w 78105"/>
              <a:gd name="T19" fmla="*/ 64769 h 3384550"/>
              <a:gd name="T20" fmla="*/ 40135 w 78105"/>
              <a:gd name="T21" fmla="*/ 0 h 3384550"/>
              <a:gd name="T22" fmla="*/ 73581 w 78105"/>
              <a:gd name="T23" fmla="*/ 64769 h 3384550"/>
              <a:gd name="T24" fmla="*/ 53514 w 78105"/>
              <a:gd name="T25" fmla="*/ 64769 h 3384550"/>
              <a:gd name="T26" fmla="*/ 53514 w 78105"/>
              <a:gd name="T27" fmla="*/ 77723 h 3384550"/>
              <a:gd name="T28" fmla="*/ 80271 w 78105"/>
              <a:gd name="T29" fmla="*/ 77723 h 3384550"/>
              <a:gd name="T30" fmla="*/ 73581 w 78105"/>
              <a:gd name="T31" fmla="*/ 64769 h 33845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0" t="0" r="r" b="b"/>
            <a:pathLst>
              <a:path w="78105" h="3384550">
                <a:moveTo>
                  <a:pt x="51815" y="64769"/>
                </a:moveTo>
                <a:lnTo>
                  <a:pt x="25907" y="64769"/>
                </a:lnTo>
                <a:lnTo>
                  <a:pt x="25907" y="3384438"/>
                </a:lnTo>
                <a:lnTo>
                  <a:pt x="51815" y="3384438"/>
                </a:lnTo>
                <a:lnTo>
                  <a:pt x="51815" y="64769"/>
                </a:lnTo>
                <a:close/>
              </a:path>
              <a:path w="78105" h="3384550">
                <a:moveTo>
                  <a:pt x="38861" y="0"/>
                </a:moveTo>
                <a:lnTo>
                  <a:pt x="0" y="77723"/>
                </a:lnTo>
                <a:lnTo>
                  <a:pt x="25907" y="77723"/>
                </a:lnTo>
                <a:lnTo>
                  <a:pt x="25907" y="64769"/>
                </a:lnTo>
                <a:lnTo>
                  <a:pt x="71246" y="64769"/>
                </a:lnTo>
                <a:lnTo>
                  <a:pt x="38861" y="0"/>
                </a:lnTo>
                <a:close/>
              </a:path>
              <a:path w="78105" h="3384550">
                <a:moveTo>
                  <a:pt x="71246" y="64769"/>
                </a:moveTo>
                <a:lnTo>
                  <a:pt x="51815" y="64769"/>
                </a:lnTo>
                <a:lnTo>
                  <a:pt x="51815" y="77723"/>
                </a:lnTo>
                <a:lnTo>
                  <a:pt x="77723" y="77723"/>
                </a:lnTo>
                <a:lnTo>
                  <a:pt x="71246" y="64769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47" name="object 9"/>
          <p:cNvSpPr txBox="1"/>
          <p:nvPr/>
        </p:nvSpPr>
        <p:spPr>
          <a:xfrm>
            <a:off x="3209699" y="5420656"/>
            <a:ext cx="840052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6" dirty="0">
                <a:latin typeface="Calibri"/>
                <a:cs typeface="Calibri"/>
              </a:rPr>
              <a:t>I</a:t>
            </a:r>
            <a:r>
              <a:rPr sz="2000" b="1" spc="-22" dirty="0">
                <a:latin typeface="Calibri"/>
                <a:cs typeface="Calibri"/>
              </a:rPr>
              <a:t>n</a:t>
            </a:r>
            <a:r>
              <a:rPr sz="2000" b="1" spc="-39" dirty="0">
                <a:latin typeface="Calibri"/>
                <a:cs typeface="Calibri"/>
              </a:rPr>
              <a:t>t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3" dirty="0">
                <a:latin typeface="Calibri"/>
                <a:cs typeface="Calibri"/>
              </a:rPr>
              <a:t>r</a:t>
            </a:r>
            <a:r>
              <a:rPr sz="2000" b="1" dirty="0">
                <a:latin typeface="Calibri"/>
                <a:cs typeface="Calibri"/>
              </a:rPr>
              <a:t>e</a:t>
            </a:r>
            <a:r>
              <a:rPr sz="2000" b="1" spc="-39" dirty="0">
                <a:latin typeface="Calibri"/>
                <a:cs typeface="Calibri"/>
              </a:rPr>
              <a:t>s</a:t>
            </a:r>
            <a:r>
              <a:rPr sz="2000" b="1" spc="-11" dirty="0">
                <a:latin typeface="Calibri"/>
                <a:cs typeface="Calibri"/>
              </a:rPr>
              <a:t>t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48" name="object 10"/>
          <p:cNvSpPr txBox="1"/>
          <p:nvPr/>
        </p:nvSpPr>
        <p:spPr>
          <a:xfrm>
            <a:off x="603788" y="3122521"/>
            <a:ext cx="700043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b="1" spc="-28" dirty="0">
                <a:latin typeface="Calibri"/>
                <a:cs typeface="Calibri"/>
              </a:rPr>
              <a:t>P</a:t>
            </a:r>
            <a:r>
              <a:rPr sz="2000" b="1" spc="-11" dirty="0">
                <a:latin typeface="Calibri"/>
                <a:cs typeface="Calibri"/>
              </a:rPr>
              <a:t>o</a:t>
            </a:r>
            <a:r>
              <a:rPr sz="2000" b="1" spc="-28" dirty="0">
                <a:latin typeface="Calibri"/>
                <a:cs typeface="Calibri"/>
              </a:rPr>
              <a:t>w</a:t>
            </a:r>
            <a:r>
              <a:rPr sz="2000" b="1" dirty="0">
                <a:latin typeface="Calibri"/>
                <a:cs typeface="Calibri"/>
              </a:rPr>
              <a:t>er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49" name="object 11"/>
          <p:cNvSpPr txBox="1"/>
          <p:nvPr/>
        </p:nvSpPr>
        <p:spPr>
          <a:xfrm>
            <a:off x="670293" y="1619021"/>
            <a:ext cx="491780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0" name="object 12"/>
          <p:cNvSpPr txBox="1"/>
          <p:nvPr/>
        </p:nvSpPr>
        <p:spPr>
          <a:xfrm>
            <a:off x="4797048" y="5420656"/>
            <a:ext cx="493531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latin typeface="Calibri"/>
                <a:cs typeface="Calibri"/>
              </a:rPr>
              <a:t>H</a:t>
            </a:r>
            <a:r>
              <a:rPr sz="2000" spc="-6" dirty="0">
                <a:latin typeface="Calibri"/>
                <a:cs typeface="Calibri"/>
              </a:rPr>
              <a:t>i</a:t>
            </a:r>
            <a:r>
              <a:rPr sz="2000" dirty="0">
                <a:latin typeface="Calibri"/>
                <a:cs typeface="Calibri"/>
              </a:rPr>
              <a:t>gh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1" name="object 13"/>
          <p:cNvSpPr txBox="1"/>
          <p:nvPr/>
        </p:nvSpPr>
        <p:spPr>
          <a:xfrm>
            <a:off x="1543596" y="5420656"/>
            <a:ext cx="444528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2" name="object 14"/>
          <p:cNvSpPr txBox="1"/>
          <p:nvPr/>
        </p:nvSpPr>
        <p:spPr>
          <a:xfrm>
            <a:off x="670292" y="4869313"/>
            <a:ext cx="444528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6" dirty="0">
                <a:latin typeface="Calibri"/>
                <a:cs typeface="Calibri"/>
              </a:rPr>
              <a:t>L</a:t>
            </a:r>
            <a:r>
              <a:rPr sz="2000" spc="-17" dirty="0">
                <a:latin typeface="Calibri"/>
                <a:cs typeface="Calibri"/>
              </a:rPr>
              <a:t>ow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53" name="object 15"/>
          <p:cNvSpPr>
            <a:spLocks/>
          </p:cNvSpPr>
          <p:nvPr/>
        </p:nvSpPr>
        <p:spPr bwMode="auto">
          <a:xfrm>
            <a:off x="3519469" y="1535007"/>
            <a:ext cx="0" cy="3731623"/>
          </a:xfrm>
          <a:custGeom>
            <a:avLst/>
            <a:gdLst>
              <a:gd name="T0" fmla="*/ 0 h 3384550"/>
              <a:gd name="T1" fmla="*/ 3384422 h 338455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3384550">
                <a:moveTo>
                  <a:pt x="0" y="0"/>
                </a:moveTo>
                <a:lnTo>
                  <a:pt x="0" y="3384422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54" name="object 16"/>
          <p:cNvSpPr>
            <a:spLocks/>
          </p:cNvSpPr>
          <p:nvPr/>
        </p:nvSpPr>
        <p:spPr bwMode="auto">
          <a:xfrm>
            <a:off x="1454341" y="3446326"/>
            <a:ext cx="4060252" cy="0"/>
          </a:xfrm>
          <a:custGeom>
            <a:avLst/>
            <a:gdLst>
              <a:gd name="T0" fmla="*/ 0 w 3683000"/>
              <a:gd name="T1" fmla="*/ 3682745 w 368300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3683000">
                <a:moveTo>
                  <a:pt x="0" y="0"/>
                </a:moveTo>
                <a:lnTo>
                  <a:pt x="3682745" y="0"/>
                </a:lnTo>
              </a:path>
            </a:pathLst>
          </a:custGeom>
          <a:noFill/>
          <a:ln w="9143">
            <a:solidFill>
              <a:srgbClr val="497DBA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hu-HU" sz="2000"/>
          </a:p>
        </p:txBody>
      </p:sp>
      <p:sp>
        <p:nvSpPr>
          <p:cNvPr id="55" name="object 17"/>
          <p:cNvSpPr>
            <a:spLocks noChangeArrowheads="1"/>
          </p:cNvSpPr>
          <p:nvPr/>
        </p:nvSpPr>
        <p:spPr bwMode="auto">
          <a:xfrm>
            <a:off x="3773235" y="1435240"/>
            <a:ext cx="535533" cy="635357"/>
          </a:xfrm>
          <a:prstGeom prst="rect">
            <a:avLst/>
          </a:prstGeo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56" name="object 18"/>
          <p:cNvSpPr txBox="1">
            <a:spLocks noChangeArrowheads="1"/>
          </p:cNvSpPr>
          <p:nvPr/>
        </p:nvSpPr>
        <p:spPr bwMode="auto">
          <a:xfrm>
            <a:off x="3963997" y="1566513"/>
            <a:ext cx="15575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>
                <a:solidFill>
                  <a:srgbClr val="FFFFFF"/>
                </a:solidFill>
                <a:cs typeface="Calibri" pitchFamily="34" charset="0"/>
              </a:rPr>
              <a:t>1</a:t>
            </a:r>
            <a:endParaRPr lang="hu-HU" altLang="hu-HU" sz="2000">
              <a:cs typeface="Calibri" pitchFamily="34" charset="0"/>
            </a:endParaRPr>
          </a:p>
        </p:txBody>
      </p:sp>
      <p:sp>
        <p:nvSpPr>
          <p:cNvPr id="57" name="object 19"/>
          <p:cNvSpPr>
            <a:spLocks noChangeArrowheads="1"/>
          </p:cNvSpPr>
          <p:nvPr/>
        </p:nvSpPr>
        <p:spPr bwMode="auto">
          <a:xfrm>
            <a:off x="4896804" y="2730456"/>
            <a:ext cx="537284" cy="635357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58" name="object 20"/>
          <p:cNvSpPr>
            <a:spLocks noChangeArrowheads="1"/>
          </p:cNvSpPr>
          <p:nvPr/>
        </p:nvSpPr>
        <p:spPr bwMode="auto">
          <a:xfrm>
            <a:off x="4951057" y="4218205"/>
            <a:ext cx="537283" cy="633606"/>
          </a:xfrm>
          <a:prstGeom prst="rect">
            <a:avLst/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59" name="object 21"/>
          <p:cNvSpPr>
            <a:spLocks noChangeArrowheads="1"/>
          </p:cNvSpPr>
          <p:nvPr/>
        </p:nvSpPr>
        <p:spPr bwMode="auto">
          <a:xfrm>
            <a:off x="2728420" y="2273630"/>
            <a:ext cx="537283" cy="635356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0" name="object 22"/>
          <p:cNvSpPr>
            <a:spLocks noChangeArrowheads="1"/>
          </p:cNvSpPr>
          <p:nvPr/>
        </p:nvSpPr>
        <p:spPr bwMode="auto">
          <a:xfrm>
            <a:off x="4917805" y="3183783"/>
            <a:ext cx="537284" cy="637106"/>
          </a:xfrm>
          <a:prstGeom prst="rect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1" name="object 23"/>
          <p:cNvSpPr txBox="1"/>
          <p:nvPr/>
        </p:nvSpPr>
        <p:spPr>
          <a:xfrm>
            <a:off x="5089315" y="2863478"/>
            <a:ext cx="176762" cy="76944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solidFill>
                  <a:srgbClr val="FFFFFF"/>
                </a:solidFill>
                <a:latin typeface="Calibri"/>
                <a:cs typeface="Calibri"/>
              </a:rPr>
              <a:t>2</a:t>
            </a:r>
            <a:endParaRPr sz="2000">
              <a:latin typeface="Calibri"/>
              <a:cs typeface="Calibri"/>
            </a:endParaRPr>
          </a:p>
          <a:p>
            <a:pPr marL="35001">
              <a:spcBef>
                <a:spcPts val="1196"/>
              </a:spcBef>
              <a:defRPr/>
            </a:pP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5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2" name="object 24"/>
          <p:cNvSpPr>
            <a:spLocks noChangeArrowheads="1"/>
          </p:cNvSpPr>
          <p:nvPr/>
        </p:nvSpPr>
        <p:spPr bwMode="auto">
          <a:xfrm>
            <a:off x="4982559" y="4641776"/>
            <a:ext cx="537283" cy="633606"/>
          </a:xfrm>
          <a:prstGeom prst="rect">
            <a:avLst/>
          </a:prstGeom>
          <a:blipFill dpi="0"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3" name="object 25"/>
          <p:cNvSpPr txBox="1"/>
          <p:nvPr/>
        </p:nvSpPr>
        <p:spPr>
          <a:xfrm>
            <a:off x="5143569" y="4349477"/>
            <a:ext cx="187261" cy="743793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dirty="0">
                <a:solidFill>
                  <a:srgbClr val="FFFFFF"/>
                </a:solidFill>
                <a:latin typeface="Calibri"/>
                <a:cs typeface="Calibri"/>
              </a:rPr>
              <a:t>3</a:t>
            </a:r>
            <a:endParaRPr sz="2000">
              <a:latin typeface="Calibri"/>
              <a:cs typeface="Calibri"/>
            </a:endParaRPr>
          </a:p>
          <a:p>
            <a:pPr marL="44802">
              <a:spcBef>
                <a:spcPts val="954"/>
              </a:spcBef>
              <a:defRPr/>
            </a:pPr>
            <a:r>
              <a:rPr sz="2000" spc="-11" dirty="0">
                <a:solidFill>
                  <a:srgbClr val="FFFFFF"/>
                </a:solidFill>
                <a:latin typeface="Calibri"/>
                <a:cs typeface="Calibri"/>
              </a:rPr>
              <a:t>6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4" name="object 26"/>
          <p:cNvSpPr txBox="1"/>
          <p:nvPr/>
        </p:nvSpPr>
        <p:spPr>
          <a:xfrm>
            <a:off x="2920932" y="2404902"/>
            <a:ext cx="155759" cy="30777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r>
              <a:rPr sz="2000" spc="-11" dirty="0">
                <a:solidFill>
                  <a:srgbClr val="FFFFFF"/>
                </a:solidFill>
                <a:latin typeface="Calibri"/>
                <a:cs typeface="Calibri"/>
              </a:rPr>
              <a:t>4</a:t>
            </a:r>
            <a:endParaRPr sz="2000">
              <a:latin typeface="Calibri"/>
              <a:cs typeface="Calibri"/>
            </a:endParaRPr>
          </a:p>
        </p:txBody>
      </p:sp>
      <p:sp>
        <p:nvSpPr>
          <p:cNvPr id="65" name="object 27"/>
          <p:cNvSpPr>
            <a:spLocks noChangeArrowheads="1"/>
          </p:cNvSpPr>
          <p:nvPr/>
        </p:nvSpPr>
        <p:spPr bwMode="auto">
          <a:xfrm>
            <a:off x="1662603" y="4078181"/>
            <a:ext cx="539033" cy="637106"/>
          </a:xfrm>
          <a:prstGeom prst="rect">
            <a:avLst/>
          </a:prstGeom>
          <a:blipFill dpi="0"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 sz="2000"/>
          </a:p>
        </p:txBody>
      </p:sp>
      <p:sp>
        <p:nvSpPr>
          <p:cNvPr id="66" name="object 28"/>
          <p:cNvSpPr txBox="1">
            <a:spLocks noChangeArrowheads="1"/>
          </p:cNvSpPr>
          <p:nvPr/>
        </p:nvSpPr>
        <p:spPr bwMode="auto">
          <a:xfrm>
            <a:off x="1855115" y="4211203"/>
            <a:ext cx="155760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hu-HU" altLang="hu-HU" sz="2000">
                <a:solidFill>
                  <a:srgbClr val="FFFFFF"/>
                </a:solidFill>
                <a:cs typeface="Calibri" pitchFamily="34" charset="0"/>
              </a:rPr>
              <a:t>7</a:t>
            </a:r>
            <a:endParaRPr lang="hu-HU" altLang="hu-HU" sz="2000"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70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/>
          <p:cNvCxnSpPr/>
          <p:nvPr/>
        </p:nvCxnSpPr>
        <p:spPr>
          <a:xfrm>
            <a:off x="5124094" y="4003040"/>
            <a:ext cx="0" cy="119888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Freeform 9"/>
          <p:cNvSpPr/>
          <p:nvPr/>
        </p:nvSpPr>
        <p:spPr>
          <a:xfrm>
            <a:off x="536274" y="1642511"/>
            <a:ext cx="5545561" cy="2829339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216000" rIns="252000" bIns="12700" numCol="1" spcCol="1270" anchor="t" anchorCtr="0">
            <a:noAutofit/>
          </a:bodyPr>
          <a:lstStyle/>
          <a:p>
            <a:pPr lvl="0" algn="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Steering Committee</a:t>
            </a:r>
            <a:endParaRPr lang="en-US" sz="2000" kern="1200" dirty="0">
              <a:latin typeface="Tele-GroteskEEFet" pitchFamily="2" charset="0"/>
            </a:endParaRPr>
          </a:p>
        </p:txBody>
      </p:sp>
      <p:cxnSp>
        <p:nvCxnSpPr>
          <p:cNvPr id="22" name="Straight Connector 21"/>
          <p:cNvCxnSpPr/>
          <p:nvPr/>
        </p:nvCxnSpPr>
        <p:spPr>
          <a:xfrm flipH="1">
            <a:off x="3309055" y="5433276"/>
            <a:ext cx="915041" cy="718838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err="1" smtClean="0"/>
              <a:t>Steering</a:t>
            </a:r>
            <a:r>
              <a:rPr lang="hu-HU" dirty="0" smtClean="0"/>
              <a:t> </a:t>
            </a:r>
            <a:r>
              <a:rPr lang="hu-HU" dirty="0" err="1" smtClean="0"/>
              <a:t>Commitee</a:t>
            </a:r>
            <a:endParaRPr lang="hu-HU" dirty="0"/>
          </a:p>
        </p:txBody>
      </p:sp>
      <p:sp>
        <p:nvSpPr>
          <p:cNvPr id="8" name="Freeform 7"/>
          <p:cNvSpPr/>
          <p:nvPr/>
        </p:nvSpPr>
        <p:spPr>
          <a:xfrm>
            <a:off x="1185373" y="5534088"/>
            <a:ext cx="2331881" cy="1068578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team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3717400" y="2590563"/>
            <a:ext cx="750339" cy="478936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kern="1200" dirty="0" smtClean="0">
                <a:latin typeface="Tele-GroteskEEFet" pitchFamily="2" charset="0"/>
              </a:rPr>
              <a:t>AC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19" name="Freeform 18"/>
          <p:cNvSpPr/>
          <p:nvPr/>
        </p:nvSpPr>
        <p:spPr>
          <a:xfrm>
            <a:off x="4992569" y="2820249"/>
            <a:ext cx="750339" cy="478936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kern="1200" dirty="0" smtClean="0">
                <a:latin typeface="Tele-GroteskEEFet" pitchFamily="2" charset="0"/>
              </a:rPr>
              <a:t>CF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20" name="Freeform 19"/>
          <p:cNvSpPr/>
          <p:nvPr/>
        </p:nvSpPr>
        <p:spPr>
          <a:xfrm>
            <a:off x="4085792" y="3402762"/>
            <a:ext cx="750339" cy="478936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kern="1200" dirty="0" smtClean="0">
                <a:latin typeface="Tele-GroteskEEFet" pitchFamily="2" charset="0"/>
              </a:rPr>
              <a:t>CSR</a:t>
            </a:r>
            <a:endParaRPr lang="en-US" sz="2000" kern="1200" dirty="0">
              <a:latin typeface="Tele-GroteskEEFet" pitchFamily="2" charset="0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5900832" y="5273040"/>
            <a:ext cx="750339" cy="879074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Freeform 10"/>
          <p:cNvSpPr/>
          <p:nvPr/>
        </p:nvSpPr>
        <p:spPr>
          <a:xfrm>
            <a:off x="6657948" y="5720114"/>
            <a:ext cx="1800000" cy="864000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rgbClr val="00B0F0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hu-HU" sz="2000" kern="1200" dirty="0" smtClean="0">
                <a:latin typeface="Tele-GroteskEEFet" pitchFamily="2" charset="0"/>
              </a:rPr>
              <a:t>Beszállítók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7" name="Freeform 6"/>
          <p:cNvSpPr/>
          <p:nvPr/>
        </p:nvSpPr>
        <p:spPr>
          <a:xfrm>
            <a:off x="4224094" y="5001275"/>
            <a:ext cx="1800000" cy="864000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manage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896278" y="2149801"/>
            <a:ext cx="1800000" cy="864000"/>
          </a:xfrm>
          <a:custGeom>
            <a:avLst/>
            <a:gdLst>
              <a:gd name="connsiteX0" fmla="*/ 0 w 1548140"/>
              <a:gd name="connsiteY0" fmla="*/ 0 h 774070"/>
              <a:gd name="connsiteX1" fmla="*/ 1548140 w 1548140"/>
              <a:gd name="connsiteY1" fmla="*/ 0 h 774070"/>
              <a:gd name="connsiteX2" fmla="*/ 1548140 w 1548140"/>
              <a:gd name="connsiteY2" fmla="*/ 774070 h 774070"/>
              <a:gd name="connsiteX3" fmla="*/ 0 w 1548140"/>
              <a:gd name="connsiteY3" fmla="*/ 774070 h 774070"/>
              <a:gd name="connsiteX4" fmla="*/ 0 w 1548140"/>
              <a:gd name="connsiteY4" fmla="*/ 0 h 774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48140" h="774070">
                <a:moveTo>
                  <a:pt x="0" y="0"/>
                </a:moveTo>
                <a:lnTo>
                  <a:pt x="1548140" y="0"/>
                </a:lnTo>
                <a:lnTo>
                  <a:pt x="1548140" y="774070"/>
                </a:lnTo>
                <a:lnTo>
                  <a:pt x="0" y="77407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2700" tIns="12700" rIns="12700" bIns="12700" numCol="1" spcCol="1270" anchor="ctr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000" kern="1200" dirty="0" smtClean="0">
                <a:latin typeface="Tele-GroteskEEFet" pitchFamily="2" charset="0"/>
              </a:rPr>
              <a:t>Project Sponsor</a:t>
            </a:r>
            <a:endParaRPr lang="en-US" sz="2000" kern="1200" dirty="0">
              <a:latin typeface="Tele-GroteskEEFet" pitchFamily="2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447595" y="1825109"/>
            <a:ext cx="3366965" cy="10139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ea typeface="Swagger" pitchFamily="2" charset="0"/>
              </a:rPr>
              <a:t>ACR: Account Customer Responsible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en-US" sz="1800" dirty="0" smtClean="0">
                <a:ea typeface="Swagger" pitchFamily="2" charset="0"/>
              </a:rPr>
              <a:t>CFR: Contract Fulfillment Responsible</a:t>
            </a:r>
            <a:endParaRPr lang="hu-HU" sz="1800" dirty="0" smtClean="0"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ea typeface="Swagger" pitchFamily="2" charset="0"/>
              </a:rPr>
              <a:t>CSR: </a:t>
            </a:r>
            <a:r>
              <a:rPr lang="hu-HU" sz="1800" dirty="0" err="1" smtClean="0">
                <a:ea typeface="Swagger" pitchFamily="2" charset="0"/>
              </a:rPr>
              <a:t>Customer</a:t>
            </a:r>
            <a:r>
              <a:rPr lang="hu-HU" sz="1800" dirty="0" smtClean="0">
                <a:ea typeface="Swagger" pitchFamily="2" charset="0"/>
              </a:rPr>
              <a:t> </a:t>
            </a:r>
            <a:r>
              <a:rPr lang="hu-HU" sz="1800" dirty="0" err="1" smtClean="0">
                <a:ea typeface="Swagger" pitchFamily="2" charset="0"/>
              </a:rPr>
              <a:t>Solution</a:t>
            </a:r>
            <a:r>
              <a:rPr lang="hu-HU" sz="1800" dirty="0" smtClean="0">
                <a:ea typeface="Swagger" pitchFamily="2" charset="0"/>
              </a:rPr>
              <a:t> </a:t>
            </a:r>
            <a:r>
              <a:rPr lang="hu-HU" sz="1800" dirty="0" err="1" smtClean="0">
                <a:ea typeface="Swagger" pitchFamily="2" charset="0"/>
              </a:rPr>
              <a:t>Responsible</a:t>
            </a:r>
            <a:endParaRPr lang="en-US" sz="1800" dirty="0" smtClean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16469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takeholders – </a:t>
            </a:r>
            <a:r>
              <a:rPr lang="en-US" dirty="0" err="1" smtClean="0"/>
              <a:t>Bóly</a:t>
            </a:r>
            <a:r>
              <a:rPr lang="en-US" dirty="0" smtClean="0"/>
              <a:t> FTTH &amp; 3Play services</a:t>
            </a:r>
            <a:endParaRPr lang="en-US" dirty="0"/>
          </a:p>
        </p:txBody>
      </p:sp>
      <p:grpSp>
        <p:nvGrpSpPr>
          <p:cNvPr id="11" name="Group 10"/>
          <p:cNvGrpSpPr/>
          <p:nvPr/>
        </p:nvGrpSpPr>
        <p:grpSpPr>
          <a:xfrm>
            <a:off x="-98832" y="1990729"/>
            <a:ext cx="9732690" cy="4072614"/>
            <a:chOff x="-98832" y="1990729"/>
            <a:chExt cx="9732690" cy="4072614"/>
          </a:xfrm>
        </p:grpSpPr>
        <p:pic>
          <p:nvPicPr>
            <p:cNvPr id="648201" name="Picture 9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8832" y="1990729"/>
              <a:ext cx="9732690" cy="40726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10" name="Straight Connector 9"/>
            <p:cNvCxnSpPr/>
            <p:nvPr/>
          </p:nvCxnSpPr>
          <p:spPr>
            <a:xfrm>
              <a:off x="9633858" y="1990729"/>
              <a:ext cx="0" cy="3974642"/>
            </a:xfrm>
            <a:prstGeom prst="line">
              <a:avLst/>
            </a:prstGeom>
            <a:ln w="12700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4113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ject team - </a:t>
            </a:r>
            <a:r>
              <a:rPr lang="en-US" dirty="0" err="1"/>
              <a:t>Bóly</a:t>
            </a:r>
            <a:r>
              <a:rPr lang="en-US" dirty="0"/>
              <a:t> FTTH &amp; 3Play services</a:t>
            </a:r>
            <a:endParaRPr lang="hu-HU" dirty="0"/>
          </a:p>
        </p:txBody>
      </p:sp>
      <p:grpSp>
        <p:nvGrpSpPr>
          <p:cNvPr id="5" name="Group 4"/>
          <p:cNvGrpSpPr/>
          <p:nvPr/>
        </p:nvGrpSpPr>
        <p:grpSpPr>
          <a:xfrm>
            <a:off x="-98832" y="1990729"/>
            <a:ext cx="9732690" cy="4072614"/>
            <a:chOff x="-98832" y="1990729"/>
            <a:chExt cx="9732690" cy="4072614"/>
          </a:xfrm>
        </p:grpSpPr>
        <p:pic>
          <p:nvPicPr>
            <p:cNvPr id="6" name="Picture 9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8832" y="1990729"/>
              <a:ext cx="9732690" cy="407261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7" name="Straight Connector 6"/>
            <p:cNvCxnSpPr/>
            <p:nvPr/>
          </p:nvCxnSpPr>
          <p:spPr>
            <a:xfrm>
              <a:off x="9633858" y="1990729"/>
              <a:ext cx="0" cy="3974642"/>
            </a:xfrm>
            <a:prstGeom prst="line">
              <a:avLst/>
            </a:prstGeom>
            <a:ln w="12700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" name="Straight Connector 9"/>
          <p:cNvCxnSpPr/>
          <p:nvPr/>
        </p:nvCxnSpPr>
        <p:spPr>
          <a:xfrm>
            <a:off x="2993571" y="2754086"/>
            <a:ext cx="0" cy="511628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/>
        </p:nvCxnSpPr>
        <p:spPr>
          <a:xfrm flipH="1">
            <a:off x="707571" y="3265714"/>
            <a:ext cx="2286001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 flipV="1">
            <a:off x="707571" y="3265715"/>
            <a:ext cx="0" cy="2629117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07571" y="5883946"/>
            <a:ext cx="2286001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2993571" y="4457700"/>
            <a:ext cx="0" cy="1426246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 flipH="1">
            <a:off x="2993572" y="4457700"/>
            <a:ext cx="6561908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9555480" y="2743200"/>
            <a:ext cx="0" cy="171450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 flipH="1">
            <a:off x="2993572" y="2743200"/>
            <a:ext cx="6561908" cy="0"/>
          </a:xfrm>
          <a:prstGeom prst="line">
            <a:avLst/>
          </a:prstGeom>
          <a:ln w="19050">
            <a:solidFill>
              <a:srgbClr val="000000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4" name="Rectangle 33"/>
          <p:cNvSpPr/>
          <p:nvPr/>
        </p:nvSpPr>
        <p:spPr bwMode="gray">
          <a:xfrm>
            <a:off x="3299460" y="4518660"/>
            <a:ext cx="6195060" cy="1287780"/>
          </a:xfrm>
          <a:prstGeom prst="rect">
            <a:avLst/>
          </a:prstGeom>
          <a:solidFill>
            <a:schemeClr val="bg1">
              <a:alpha val="70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508635" y="2055495"/>
            <a:ext cx="2455545" cy="1181100"/>
          </a:xfrm>
          <a:prstGeom prst="rect">
            <a:avLst/>
          </a:prstGeom>
          <a:solidFill>
            <a:schemeClr val="bg1">
              <a:alpha val="57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2964180" y="2055495"/>
            <a:ext cx="2192020" cy="647065"/>
          </a:xfrm>
          <a:prstGeom prst="rect">
            <a:avLst/>
          </a:prstGeom>
          <a:solidFill>
            <a:schemeClr val="bg1">
              <a:alpha val="55000"/>
            </a:schemeClr>
          </a:solidFill>
          <a:ln w="19050" algn="ctr">
            <a:noFill/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97918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QUESTIONS?</a:t>
            </a:r>
            <a:endParaRPr lang="hu-H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1318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y do we have to plan a p</a:t>
            </a:r>
            <a:r>
              <a:rPr lang="hu-HU" dirty="0" smtClean="0"/>
              <a:t>r</a:t>
            </a:r>
            <a:r>
              <a:rPr lang="en-US" dirty="0" err="1" smtClean="0"/>
              <a:t>oject</a:t>
            </a:r>
            <a:r>
              <a:rPr lang="en-US" dirty="0" smtClean="0"/>
              <a:t>?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24" name="Footer Placeholder 2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  <p:pic>
        <p:nvPicPr>
          <p:cNvPr id="649218" name="Picture 2" descr="Képtalálat a következőre: „india crazy cable network”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5832" y="943474"/>
            <a:ext cx="8000488" cy="5325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37968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pro</a:t>
            </a:r>
            <a:r>
              <a:rPr lang="hu-HU" b="1" dirty="0" smtClean="0"/>
              <a:t>c</a:t>
            </a:r>
            <a:r>
              <a:rPr lang="en-US" b="1" dirty="0" err="1" smtClean="0"/>
              <a:t>ess</a:t>
            </a:r>
            <a:r>
              <a:rPr lang="en-US" b="1" dirty="0" smtClean="0"/>
              <a:t> group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object 2"/>
          <p:cNvSpPr>
            <a:spLocks/>
          </p:cNvSpPr>
          <p:nvPr/>
        </p:nvSpPr>
        <p:spPr bwMode="auto">
          <a:xfrm>
            <a:off x="4454525" y="760413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object 3"/>
          <p:cNvSpPr>
            <a:spLocks/>
          </p:cNvSpPr>
          <p:nvPr/>
        </p:nvSpPr>
        <p:spPr bwMode="auto">
          <a:xfrm>
            <a:off x="4454525" y="6305550"/>
            <a:ext cx="0" cy="9525"/>
          </a:xfrm>
          <a:custGeom>
            <a:avLst/>
            <a:gdLst>
              <a:gd name="T0" fmla="*/ 0 h 9525"/>
              <a:gd name="T1" fmla="*/ 9143 h 952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525">
                <a:moveTo>
                  <a:pt x="0" y="0"/>
                </a:moveTo>
                <a:lnTo>
                  <a:pt x="0" y="9143"/>
                </a:lnTo>
              </a:path>
            </a:pathLst>
          </a:custGeom>
          <a:noFill/>
          <a:ln w="9143">
            <a:solidFill>
              <a:srgbClr val="00705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object 5"/>
          <p:cNvSpPr txBox="1">
            <a:spLocks noChangeArrowheads="1"/>
          </p:cNvSpPr>
          <p:nvPr/>
        </p:nvSpPr>
        <p:spPr bwMode="auto">
          <a:xfrm>
            <a:off x="1133474" y="683685"/>
            <a:ext cx="7961313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ts val="2263"/>
              </a:lnSpc>
            </a:pPr>
            <a:r>
              <a:rPr lang="hu-HU" altLang="hu-HU" sz="2000" b="1" dirty="0" err="1">
                <a:solidFill>
                  <a:srgbClr val="007055"/>
                </a:solidFill>
                <a:latin typeface="Arial" charset="0"/>
              </a:rPr>
              <a:t>Processes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(47)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proces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5D100C"/>
                </a:solidFill>
                <a:latin typeface="Arial" charset="0"/>
              </a:rPr>
              <a:t>groups</a:t>
            </a:r>
            <a:r>
              <a:rPr lang="hu-HU" altLang="hu-HU" sz="2000" b="1" dirty="0">
                <a:solidFill>
                  <a:srgbClr val="5D100C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5D100C"/>
                </a:solidFill>
                <a:latin typeface="Arial" charset="0"/>
              </a:rPr>
              <a:t>(5)</a:t>
            </a:r>
            <a:r>
              <a:rPr lang="hu-HU" altLang="hu-HU" sz="2000" b="1" dirty="0">
                <a:solidFill>
                  <a:srgbClr val="007055"/>
                </a:solidFill>
                <a:latin typeface="Arial" charset="0"/>
              </a:rPr>
              <a:t>,</a:t>
            </a:r>
            <a:r>
              <a:rPr lang="hu-HU" altLang="hu-HU" sz="2000" b="1" dirty="0">
                <a:solidFill>
                  <a:srgbClr val="007055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knowledge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 err="1">
                <a:solidFill>
                  <a:srgbClr val="045F78"/>
                </a:solidFill>
                <a:latin typeface="Arial" charset="0"/>
              </a:rPr>
              <a:t>areas</a:t>
            </a:r>
            <a:r>
              <a:rPr lang="hu-HU" altLang="hu-HU" sz="2000" b="1" dirty="0">
                <a:solidFill>
                  <a:srgbClr val="045F78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2000" b="1" dirty="0">
                <a:solidFill>
                  <a:srgbClr val="045F78"/>
                </a:solidFill>
                <a:latin typeface="Arial" charset="0"/>
              </a:rPr>
              <a:t>(10)</a:t>
            </a:r>
            <a:endParaRPr lang="hu-HU" altLang="hu-HU" sz="2000" dirty="0">
              <a:latin typeface="Arial" charset="0"/>
            </a:endParaRPr>
          </a:p>
          <a:p>
            <a:pPr algn="r" eaLnBrk="1" hangingPunct="1">
              <a:lnSpc>
                <a:spcPts val="1063"/>
              </a:lnSpc>
            </a:pPr>
            <a:r>
              <a:rPr lang="hu-HU" altLang="hu-HU" sz="1000" dirty="0" err="1">
                <a:latin typeface="Arial" charset="0"/>
              </a:rPr>
              <a:t>Source</a:t>
            </a:r>
            <a:r>
              <a:rPr lang="hu-HU" altLang="hu-HU" sz="1000" dirty="0">
                <a:latin typeface="Arial" charset="0"/>
              </a:rPr>
              <a:t>: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>
                <a:latin typeface="Arial" charset="0"/>
              </a:rPr>
              <a:t>PMBOK</a:t>
            </a:r>
            <a:r>
              <a:rPr lang="hu-HU" altLang="hu-HU" sz="1000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000" dirty="0" err="1">
                <a:latin typeface="Arial" charset="0"/>
              </a:rPr>
              <a:t>Guide</a:t>
            </a:r>
            <a:endParaRPr lang="hu-HU" altLang="hu-HU" sz="1000" dirty="0">
              <a:latin typeface="Arial" charset="0"/>
            </a:endParaRPr>
          </a:p>
        </p:txBody>
      </p:sp>
      <p:sp>
        <p:nvSpPr>
          <p:cNvPr id="11" name="object 6"/>
          <p:cNvSpPr>
            <a:spLocks/>
          </p:cNvSpPr>
          <p:nvPr/>
        </p:nvSpPr>
        <p:spPr bwMode="auto">
          <a:xfrm>
            <a:off x="2273300" y="5983288"/>
            <a:ext cx="2181225" cy="422275"/>
          </a:xfrm>
          <a:custGeom>
            <a:avLst/>
            <a:gdLst>
              <a:gd name="T0" fmla="*/ 0 w 2180590"/>
              <a:gd name="T1" fmla="*/ 421763 h 422910"/>
              <a:gd name="T2" fmla="*/ 2180966 w 2180590"/>
              <a:gd name="T3" fmla="*/ 421763 h 422910"/>
              <a:gd name="T4" fmla="*/ 2180966 w 2180590"/>
              <a:gd name="T5" fmla="*/ 0 h 422910"/>
              <a:gd name="T6" fmla="*/ 0 w 2180590"/>
              <a:gd name="T7" fmla="*/ 0 h 422910"/>
              <a:gd name="T8" fmla="*/ 0 w 2180590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422910">
                <a:moveTo>
                  <a:pt x="0" y="422397"/>
                </a:moveTo>
                <a:lnTo>
                  <a:pt x="2180331" y="422397"/>
                </a:lnTo>
                <a:lnTo>
                  <a:pt x="2180331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object 7"/>
          <p:cNvSpPr>
            <a:spLocks/>
          </p:cNvSpPr>
          <p:nvPr/>
        </p:nvSpPr>
        <p:spPr bwMode="auto">
          <a:xfrm>
            <a:off x="4454525" y="5983288"/>
            <a:ext cx="2109788" cy="422275"/>
          </a:xfrm>
          <a:custGeom>
            <a:avLst/>
            <a:gdLst>
              <a:gd name="T0" fmla="*/ 0 w 2110104"/>
              <a:gd name="T1" fmla="*/ 421763 h 422910"/>
              <a:gd name="T2" fmla="*/ 2109530 w 2110104"/>
              <a:gd name="T3" fmla="*/ 421763 h 422910"/>
              <a:gd name="T4" fmla="*/ 2109530 w 2110104"/>
              <a:gd name="T5" fmla="*/ 0 h 422910"/>
              <a:gd name="T6" fmla="*/ 0 w 2110104"/>
              <a:gd name="T7" fmla="*/ 0 h 422910"/>
              <a:gd name="T8" fmla="*/ 0 w 2110104"/>
              <a:gd name="T9" fmla="*/ 421763 h 42291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422910">
                <a:moveTo>
                  <a:pt x="0" y="422397"/>
                </a:moveTo>
                <a:lnTo>
                  <a:pt x="2109846" y="422397"/>
                </a:lnTo>
                <a:lnTo>
                  <a:pt x="2109846" y="0"/>
                </a:lnTo>
                <a:lnTo>
                  <a:pt x="0" y="0"/>
                </a:lnTo>
                <a:lnTo>
                  <a:pt x="0" y="422397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3" name="object 8"/>
          <p:cNvSpPr>
            <a:spLocks/>
          </p:cNvSpPr>
          <p:nvPr/>
        </p:nvSpPr>
        <p:spPr bwMode="auto">
          <a:xfrm>
            <a:off x="2273300" y="6405563"/>
            <a:ext cx="2181225" cy="393700"/>
          </a:xfrm>
          <a:custGeom>
            <a:avLst/>
            <a:gdLst>
              <a:gd name="T0" fmla="*/ 0 w 2180590"/>
              <a:gd name="T1" fmla="*/ 393704 h 393700"/>
              <a:gd name="T2" fmla="*/ 2180966 w 2180590"/>
              <a:gd name="T3" fmla="*/ 393704 h 393700"/>
              <a:gd name="T4" fmla="*/ 2180966 w 2180590"/>
              <a:gd name="T5" fmla="*/ 0 h 393700"/>
              <a:gd name="T6" fmla="*/ 0 w 2180590"/>
              <a:gd name="T7" fmla="*/ 0 h 393700"/>
              <a:gd name="T8" fmla="*/ 0 w 2180590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80590" h="393700">
                <a:moveTo>
                  <a:pt x="0" y="393704"/>
                </a:moveTo>
                <a:lnTo>
                  <a:pt x="2180331" y="393704"/>
                </a:lnTo>
                <a:lnTo>
                  <a:pt x="2180331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5" name="object 9"/>
          <p:cNvSpPr>
            <a:spLocks/>
          </p:cNvSpPr>
          <p:nvPr/>
        </p:nvSpPr>
        <p:spPr bwMode="auto">
          <a:xfrm>
            <a:off x="4454525" y="6405563"/>
            <a:ext cx="2109788" cy="393700"/>
          </a:xfrm>
          <a:custGeom>
            <a:avLst/>
            <a:gdLst>
              <a:gd name="T0" fmla="*/ 0 w 2110104"/>
              <a:gd name="T1" fmla="*/ 393704 h 393700"/>
              <a:gd name="T2" fmla="*/ 2109530 w 2110104"/>
              <a:gd name="T3" fmla="*/ 393704 h 393700"/>
              <a:gd name="T4" fmla="*/ 2109530 w 2110104"/>
              <a:gd name="T5" fmla="*/ 0 h 393700"/>
              <a:gd name="T6" fmla="*/ 0 w 2110104"/>
              <a:gd name="T7" fmla="*/ 0 h 393700"/>
              <a:gd name="T8" fmla="*/ 0 w 2110104"/>
              <a:gd name="T9" fmla="*/ 393704 h 3937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2110104" h="393700">
                <a:moveTo>
                  <a:pt x="0" y="393704"/>
                </a:moveTo>
                <a:lnTo>
                  <a:pt x="2109846" y="393704"/>
                </a:lnTo>
                <a:lnTo>
                  <a:pt x="2109846" y="0"/>
                </a:lnTo>
                <a:lnTo>
                  <a:pt x="0" y="0"/>
                </a:lnTo>
                <a:lnTo>
                  <a:pt x="0" y="39370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graphicFrame>
        <p:nvGraphicFramePr>
          <p:cNvPr id="16" name="object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940771"/>
              </p:ext>
            </p:extLst>
          </p:nvPr>
        </p:nvGraphicFramePr>
        <p:xfrm>
          <a:off x="327025" y="1121228"/>
          <a:ext cx="9017000" cy="5758543"/>
        </p:xfrm>
        <a:graphic>
          <a:graphicData uri="http://schemas.openxmlformats.org/drawingml/2006/table">
            <a:tbl>
              <a:tblPr/>
              <a:tblGrid>
                <a:gridCol w="1090612"/>
                <a:gridCol w="1090613"/>
                <a:gridCol w="2181225"/>
                <a:gridCol w="2109787"/>
                <a:gridCol w="1409700"/>
                <a:gridCol w="1135063"/>
              </a:tblGrid>
              <a:tr h="35805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492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492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itia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87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8738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n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601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601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xecut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984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984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l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2190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190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5D100C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ing</a:t>
                      </a:r>
                      <a:endParaRPr kumimoji="0" lang="hu-HU" altLang="hu-HU" sz="18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</a:tr>
              <a:tr h="651018">
                <a:tc>
                  <a:txBody>
                    <a:bodyPr/>
                    <a:lstStyle>
                      <a:lvl1pPr marL="15081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5081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ion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rter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88913" indent="-1047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88913" marR="0" lvl="0" indent="-1047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ir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onit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d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or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ntegrated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han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6700" indent="-1809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6700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o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has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1018">
                <a:tc>
                  <a:txBody>
                    <a:bodyPr/>
                    <a:lstStyle>
                      <a:lvl1pPr marL="3111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1115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ll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quiremen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re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WB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Valid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op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3509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ime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f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07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equen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i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ts val="1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tiv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ur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chedul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stimat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termin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Budge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s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2489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ssurance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y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97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R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Hum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ourc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cquir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Develop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je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Team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28257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8257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325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mmunication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3057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l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erform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Quantitativ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Analysis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esponse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Risk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3569">
                <a:tc>
                  <a:txBody>
                    <a:bodyPr/>
                    <a:lstStyle>
                      <a:lvl1pPr marL="347663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347663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.</a:t>
                      </a: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duct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66688" indent="-825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66688" marR="0" lvl="0" indent="-8255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lose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rocurement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6937">
                <a:tc>
                  <a:txBody>
                    <a:bodyPr/>
                    <a:lstStyle>
                      <a:lvl1pPr marL="111125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111125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45F78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endParaRPr kumimoji="0" lang="hu-HU" altLang="hu-H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Identify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s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Plan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8413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84138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Manage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3525" indent="-179388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263525" marR="0" lvl="0" indent="-179388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Control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Stakeholder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hu-HU" altLang="hu-H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286C4F"/>
                          </a:solidFill>
                          <a:effectLst/>
                          <a:latin typeface="Arial Narrow" pitchFamily="34" charset="0"/>
                          <a:ea typeface="Arial Narrow" pitchFamily="34" charset="0"/>
                          <a:cs typeface="Arial Narrow" pitchFamily="34" charset="0"/>
                        </a:rPr>
                        <a:t>Engagement</a:t>
                      </a:r>
                      <a:endParaRPr kumimoji="0" lang="hu-HU" altLang="hu-H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1pPr>
                      <a:lvl2pPr marL="742950" indent="-28575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2pPr>
                      <a:lvl3pPr marL="11430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3pPr>
                      <a:lvl4pPr marL="16002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4pPr>
                      <a:lvl5pPr marL="2057400" indent="-228600" eaLnBrk="0" hangingPunct="0">
                        <a:spcBef>
                          <a:spcPct val="20000"/>
                        </a:spcBef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 sz="1600">
                          <a:solidFill>
                            <a:schemeClr val="tx1"/>
                          </a:solidFill>
                          <a:latin typeface="Calibri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hu-HU" altLang="hu-H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 Narrow" pitchFamily="34" charset="0"/>
                        <a:ea typeface="Arial Narrow" pitchFamily="34" charset="0"/>
                        <a:cs typeface="Arial Narrow" pitchFamily="34" charset="0"/>
                      </a:endParaRPr>
                    </a:p>
                  </a:txBody>
                  <a:tcPr marL="0" marR="0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4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3924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4950963" y="3276692"/>
            <a:ext cx="4672100" cy="17312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000">
              <a:defRPr/>
            </a:pPr>
            <a:endParaRPr lang="hu-HU" sz="2200" b="1" dirty="0" smtClean="0">
              <a:solidFill>
                <a:srgbClr val="5D100C"/>
              </a:solidFill>
              <a:latin typeface="Arial"/>
              <a:cs typeface="Arial"/>
            </a:endParaRPr>
          </a:p>
          <a:p>
            <a:pPr marL="14000">
              <a:spcBef>
                <a:spcPts val="265"/>
              </a:spcBef>
              <a:buClr>
                <a:srgbClr val="045F78"/>
              </a:buClr>
              <a:tabLst>
                <a:tab pos="392713" algn="l"/>
              </a:tabLst>
              <a:defRPr/>
            </a:pPr>
            <a:r>
              <a:rPr lang="hu-HU" sz="2200" dirty="0">
                <a:solidFill>
                  <a:srgbClr val="045F78"/>
                </a:solidFill>
                <a:latin typeface="Arial"/>
                <a:cs typeface="Arial"/>
              </a:rPr>
              <a:t>A </a:t>
            </a:r>
            <a:r>
              <a:rPr lang="hu-HU" sz="2200" dirty="0" smtClean="0">
                <a:solidFill>
                  <a:srgbClr val="045F78"/>
                </a:solidFill>
                <a:latin typeface="Arial"/>
                <a:cs typeface="Arial"/>
              </a:rPr>
              <a:t>különböző tudásterületek együttműködésének koordinálása, az elemek és feladatok összehangolása.</a:t>
            </a:r>
            <a:endParaRPr lang="hu-HU" sz="2200" dirty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50084" fontAlgn="auto">
              <a:spcAft>
                <a:spcPts val="0"/>
              </a:spcAft>
              <a:defRPr/>
            </a:pPr>
            <a:r>
              <a:rPr lang="hu-HU" dirty="0" err="1" smtClean="0"/>
              <a:t>Integration</a:t>
            </a:r>
            <a:r>
              <a:rPr lang="hu-HU" dirty="0" smtClean="0"/>
              <a:t> </a:t>
            </a:r>
            <a:r>
              <a:rPr dirty="0" smtClean="0"/>
              <a:t>Manag</a:t>
            </a:r>
            <a:r>
              <a:rPr spc="-11" dirty="0" smtClean="0"/>
              <a:t>e</a:t>
            </a:r>
            <a:r>
              <a:rPr spc="-6" dirty="0" smtClean="0"/>
              <a:t>ment</a:t>
            </a:r>
            <a:endParaRPr spc="-6" dirty="0"/>
          </a:p>
        </p:txBody>
      </p:sp>
      <p:pic>
        <p:nvPicPr>
          <p:cNvPr id="3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000" y="1347914"/>
            <a:ext cx="4071576" cy="3554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1044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3671038" y="1308192"/>
            <a:ext cx="6053625" cy="105413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endParaRPr lang="hu-HU" sz="2200" b="1" dirty="0" smtClean="0">
              <a:solidFill>
                <a:srgbClr val="5D100C"/>
              </a:solidFill>
              <a:latin typeface="Arial"/>
              <a:cs typeface="Arial"/>
            </a:endParaRPr>
          </a:p>
          <a:p>
            <a:pPr marL="14000">
              <a:spcBef>
                <a:spcPts val="265"/>
              </a:spcBef>
              <a:buClr>
                <a:srgbClr val="045F78"/>
              </a:buClr>
              <a:tabLst>
                <a:tab pos="392713" algn="l"/>
              </a:tabLst>
              <a:defRPr/>
            </a:pPr>
            <a:r>
              <a:rPr lang="hu-HU" sz="2200" dirty="0">
                <a:solidFill>
                  <a:srgbClr val="045F78"/>
                </a:solidFill>
                <a:latin typeface="Arial"/>
                <a:cs typeface="Arial"/>
              </a:rPr>
              <a:t>A terület feladata </a:t>
            </a:r>
            <a:r>
              <a:rPr lang="hu-HU" sz="2200" dirty="0" smtClean="0">
                <a:solidFill>
                  <a:srgbClr val="045F78"/>
                </a:solidFill>
                <a:latin typeface="Arial"/>
                <a:cs typeface="Arial"/>
              </a:rPr>
              <a:t>hogy a project az elvárt és csakis az elvárt követelményeket szállítsa le.</a:t>
            </a:r>
            <a:endParaRPr lang="hu-HU" sz="2200" dirty="0">
              <a:solidFill>
                <a:srgbClr val="045F78"/>
              </a:solidFill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50084" fontAlgn="auto">
              <a:spcAft>
                <a:spcPts val="0"/>
              </a:spcAft>
              <a:defRPr/>
            </a:pPr>
            <a:r>
              <a:rPr lang="hu-HU" dirty="0" smtClean="0"/>
              <a:t>Project </a:t>
            </a:r>
            <a:r>
              <a:rPr lang="hu-HU" dirty="0" err="1" smtClean="0"/>
              <a:t>Scope</a:t>
            </a:r>
            <a:r>
              <a:rPr spc="77" dirty="0" smtClean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1301" y="1064395"/>
            <a:ext cx="2751499" cy="2064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81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03650" y="2932113"/>
            <a:ext cx="4886325" cy="367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6383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3671038" y="1308192"/>
            <a:ext cx="6053625" cy="176971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defRPr/>
            </a:pPr>
            <a:endParaRPr lang="hu-HU" sz="2200" b="1" dirty="0" smtClean="0">
              <a:solidFill>
                <a:srgbClr val="5D100C"/>
              </a:solidFill>
              <a:latin typeface="Arial"/>
              <a:cs typeface="Arial"/>
            </a:endParaRPr>
          </a:p>
          <a:p>
            <a:pPr marL="14000">
              <a:spcBef>
                <a:spcPts val="265"/>
              </a:spcBef>
              <a:buClr>
                <a:srgbClr val="045F78"/>
              </a:buClr>
              <a:tabLst>
                <a:tab pos="392713" algn="l"/>
              </a:tabLst>
              <a:defRPr/>
            </a:pPr>
            <a:r>
              <a:rPr lang="hu-HU" sz="2200" dirty="0">
                <a:solidFill>
                  <a:srgbClr val="045F78"/>
                </a:solidFill>
                <a:latin typeface="Arial"/>
                <a:cs typeface="Arial"/>
              </a:rPr>
              <a:t>A terület feladata az eredeti ütemezés betartása, melynek során kommunikációs eszközként a projekt ütemezését (projekttervet) használja.</a:t>
            </a:r>
          </a:p>
          <a:p>
            <a:pPr marL="14000">
              <a:spcBef>
                <a:spcPts val="265"/>
              </a:spcBef>
              <a:buClr>
                <a:srgbClr val="045F78"/>
              </a:buClr>
              <a:tabLst>
                <a:tab pos="392713" algn="l"/>
              </a:tabLst>
              <a:defRPr/>
            </a:pPr>
            <a:r>
              <a:rPr lang="hu-HU" sz="2200" dirty="0" smtClean="0">
                <a:solidFill>
                  <a:srgbClr val="045F78"/>
                </a:solidFill>
                <a:latin typeface="Arial"/>
                <a:cs typeface="Arial"/>
              </a:rPr>
              <a:t>.</a:t>
            </a:r>
            <a:endParaRPr lang="hu-HU" sz="22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50084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83" dirty="0"/>
              <a:t>T</a:t>
            </a:r>
            <a:r>
              <a:rPr dirty="0"/>
              <a:t>ime</a:t>
            </a:r>
            <a:r>
              <a:rPr spc="77" dirty="0">
                <a:latin typeface="Times New Roman"/>
                <a:cs typeface="Times New Roman"/>
              </a:rPr>
              <a:t> </a:t>
            </a:r>
            <a:r>
              <a:rPr dirty="0"/>
              <a:t>Manag</a:t>
            </a:r>
            <a:r>
              <a:rPr spc="-11" dirty="0"/>
              <a:t>e</a:t>
            </a:r>
            <a:r>
              <a:rPr spc="-6" dirty="0"/>
              <a:t>ment</a:t>
            </a:r>
          </a:p>
        </p:txBody>
      </p:sp>
      <p:pic>
        <p:nvPicPr>
          <p:cNvPr id="6481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0000" y="906389"/>
            <a:ext cx="304800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48196" name="Picture 4" descr="Képtalálat a következőre: „project plan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8717" y="3594326"/>
            <a:ext cx="7878083" cy="24955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210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20" name="object 4"/>
          <p:cNvSpPr>
            <a:spLocks noChangeArrowheads="1"/>
          </p:cNvSpPr>
          <p:nvPr/>
        </p:nvSpPr>
        <p:spPr bwMode="auto">
          <a:xfrm>
            <a:off x="6226887" y="1077680"/>
            <a:ext cx="3589472" cy="2779464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sp>
        <p:nvSpPr>
          <p:cNvPr id="5" name="object 5"/>
          <p:cNvSpPr txBox="1"/>
          <p:nvPr/>
        </p:nvSpPr>
        <p:spPr>
          <a:xfrm>
            <a:off x="341272" y="1267212"/>
            <a:ext cx="6377395" cy="1354217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4000">
              <a:spcBef>
                <a:spcPts val="529"/>
              </a:spcBef>
              <a:buClr>
                <a:srgbClr val="045F78"/>
              </a:buClr>
              <a:tabLst>
                <a:tab pos="392713" algn="l"/>
              </a:tabLst>
              <a:defRPr/>
            </a:pPr>
            <a:r>
              <a:rPr lang="hu-HU" sz="2200" dirty="0" smtClean="0">
                <a:solidFill>
                  <a:srgbClr val="045F78"/>
                </a:solidFill>
                <a:latin typeface="Arial"/>
                <a:cs typeface="Arial"/>
              </a:rPr>
              <a:t>A </a:t>
            </a:r>
            <a:r>
              <a:rPr lang="hu-HU" sz="2200" dirty="0">
                <a:solidFill>
                  <a:srgbClr val="045F78"/>
                </a:solidFill>
                <a:latin typeface="Arial"/>
                <a:cs typeface="Arial"/>
              </a:rPr>
              <a:t>terület feladata a költségvetés keretein belül történő végrehajtás biztosítása, a költségtúllépés felismerése és az esetlegesen szükséges korrekciós tevékenységek végrehajtása</a:t>
            </a:r>
            <a:r>
              <a:rPr sz="2200" spc="-6" dirty="0" smtClean="0">
                <a:solidFill>
                  <a:srgbClr val="045F78"/>
                </a:solidFill>
                <a:latin typeface="Arial"/>
                <a:cs typeface="Arial"/>
              </a:rPr>
              <a:t>t</a:t>
            </a:r>
            <a:endParaRPr sz="2200" dirty="0">
              <a:latin typeface="Arial"/>
              <a:cs typeface="Arial"/>
            </a:endParaRPr>
          </a:p>
        </p:txBody>
      </p:sp>
      <p:sp>
        <p:nvSpPr>
          <p:cNvPr id="7" name="object 7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466885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C</a:t>
            </a:r>
            <a:r>
              <a:rPr dirty="0"/>
              <a:t>os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6" dirty="0"/>
              <a:t>M</a:t>
            </a:r>
            <a:r>
              <a:rPr spc="-6" dirty="0"/>
              <a:t>an</a:t>
            </a:r>
            <a:r>
              <a:rPr spc="-11" dirty="0"/>
              <a:t>a</a:t>
            </a:r>
            <a:r>
              <a:rPr dirty="0"/>
              <a:t>geme</a:t>
            </a:r>
            <a:r>
              <a:rPr spc="-11" dirty="0"/>
              <a:t>n</a:t>
            </a:r>
            <a:r>
              <a:rPr dirty="0"/>
              <a:t>t</a:t>
            </a:r>
          </a:p>
        </p:txBody>
      </p:sp>
      <p:pic>
        <p:nvPicPr>
          <p:cNvPr id="649218" name="Picture 2" descr="Képtalálat a következőre: „cost management”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69571" y="3693781"/>
            <a:ext cx="7533367" cy="2921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49453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276517" y="1335456"/>
            <a:ext cx="6962483" cy="10156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4000">
              <a:spcBef>
                <a:spcPts val="529"/>
              </a:spcBef>
              <a:buClr>
                <a:srgbClr val="045F78"/>
              </a:buClr>
              <a:tabLst>
                <a:tab pos="392713" algn="l"/>
              </a:tabLst>
              <a:defRPr/>
            </a:pPr>
            <a:r>
              <a:rPr lang="hu-HU" sz="2200" dirty="0" smtClean="0">
                <a:solidFill>
                  <a:srgbClr val="045F78"/>
                </a:solidFill>
                <a:latin typeface="Arial"/>
                <a:cs typeface="Arial"/>
              </a:rPr>
              <a:t>Biztosítja </a:t>
            </a:r>
            <a:r>
              <a:rPr lang="hu-HU" sz="2200" dirty="0">
                <a:solidFill>
                  <a:srgbClr val="045F78"/>
                </a:solidFill>
                <a:latin typeface="Arial"/>
                <a:cs typeface="Arial"/>
              </a:rPr>
              <a:t>a projekt eredményeinek az elvárt és specifikált paraméterekkel (minőséggel) történő leszállítását.</a:t>
            </a:r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/>
        <p:txBody>
          <a:bodyPr tIns="170063" rtlCol="0"/>
          <a:lstStyle/>
          <a:p>
            <a:pPr marL="2270178" fontAlgn="auto">
              <a:spcAft>
                <a:spcPts val="0"/>
              </a:spcAft>
              <a:defRPr/>
            </a:pPr>
            <a:r>
              <a:rPr dirty="0"/>
              <a:t>Project</a:t>
            </a:r>
            <a:r>
              <a:rPr spc="72" dirty="0">
                <a:latin typeface="Times New Roman"/>
                <a:cs typeface="Times New Roman"/>
              </a:rPr>
              <a:t> </a:t>
            </a:r>
            <a:r>
              <a:rPr spc="-17" dirty="0"/>
              <a:t>Qualit</a:t>
            </a:r>
            <a:r>
              <a:rPr dirty="0"/>
              <a:t>y</a:t>
            </a:r>
            <a:r>
              <a:rPr spc="44" dirty="0">
                <a:latin typeface="Times New Roman"/>
                <a:cs typeface="Times New Roman"/>
              </a:rPr>
              <a:t> </a:t>
            </a:r>
            <a:r>
              <a:rPr spc="6" dirty="0"/>
              <a:t>M</a:t>
            </a:r>
            <a:r>
              <a:rPr spc="-6" dirty="0"/>
              <a:t>an</a:t>
            </a:r>
            <a:r>
              <a:rPr spc="-11" dirty="0"/>
              <a:t>a</a:t>
            </a:r>
            <a:r>
              <a:rPr dirty="0"/>
              <a:t>geme</a:t>
            </a:r>
            <a:r>
              <a:rPr spc="-11" dirty="0"/>
              <a:t>n</a:t>
            </a:r>
            <a:r>
              <a:rPr dirty="0"/>
              <a:t>t</a:t>
            </a:r>
          </a:p>
        </p:txBody>
      </p:sp>
      <p:sp>
        <p:nvSpPr>
          <p:cNvPr id="35847" name="object 7"/>
          <p:cNvSpPr>
            <a:spLocks noChangeArrowheads="1"/>
          </p:cNvSpPr>
          <p:nvPr/>
        </p:nvSpPr>
        <p:spPr bwMode="auto">
          <a:xfrm>
            <a:off x="7127502" y="1464069"/>
            <a:ext cx="2597161" cy="2586932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endParaRPr lang="hu-HU" altLang="hu-HU"/>
          </a:p>
        </p:txBody>
      </p:sp>
      <p:pic>
        <p:nvPicPr>
          <p:cNvPr id="650242" name="Picture 2" descr="Képtalálat a következőre: „quality management”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1118" y="4305300"/>
            <a:ext cx="7279367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584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_MASTER_4-3_EN_20150916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T_MASTER_4-3_EN_20150916" id="{A7A1B6D4-EF23-47E1-8DBF-D4889BDF75F5}" vid="{BD11E8BC-A3CB-4BDE-9CB7-9DAEC89B3BF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ECBDF25A07374AAA08F73D3C96845A" ma:contentTypeVersion="0" ma:contentTypeDescription="Create a new document." ma:contentTypeScope="" ma:versionID="bfddc12633ad9e9f7e2ee14adde0424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F3FBA48-E1E8-4FC9-BA30-8BA88F963C05}">
  <ds:schemaRefs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E73D0CEE-C86C-43EA-A249-1D70AE74BC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AFCB7E5F-2F4D-43BA-BFDD-9907C7690AE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4-3_EN_20150916</Template>
  <TotalTime>0</TotalTime>
  <Words>758</Words>
  <Application>Microsoft Office PowerPoint</Application>
  <PresentationFormat>Custom</PresentationFormat>
  <Paragraphs>231</Paragraphs>
  <Slides>26</Slides>
  <Notes>2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6</vt:i4>
      </vt:variant>
    </vt:vector>
  </HeadingPairs>
  <TitlesOfParts>
    <vt:vector size="29" baseType="lpstr">
      <vt:lpstr>T_MASTER_4-3_EN_20150916</vt:lpstr>
      <vt:lpstr>think-cell Folie</vt:lpstr>
      <vt:lpstr>think-cell Slide</vt:lpstr>
      <vt:lpstr>Project management  Project stakeholders, Phases</vt:lpstr>
      <vt:lpstr>Agenda</vt:lpstr>
      <vt:lpstr>Why do we have to plan a project?</vt:lpstr>
      <vt:lpstr>project process groups</vt:lpstr>
      <vt:lpstr>Integration Management</vt:lpstr>
      <vt:lpstr>Project Scope Management</vt:lpstr>
      <vt:lpstr>Project Time Management</vt:lpstr>
      <vt:lpstr>Project Cost Management</vt:lpstr>
      <vt:lpstr>Project Quality Management</vt:lpstr>
      <vt:lpstr>Project Human Resource Management</vt:lpstr>
      <vt:lpstr>Project Communication Management</vt:lpstr>
      <vt:lpstr>Project Risk Management</vt:lpstr>
      <vt:lpstr>Project Procurement Management</vt:lpstr>
      <vt:lpstr>Stakeholder management</vt:lpstr>
      <vt:lpstr>Process groups</vt:lpstr>
      <vt:lpstr>Project phase vs. Process Groups</vt:lpstr>
      <vt:lpstr>Project life Cycle</vt:lpstr>
      <vt:lpstr>Stakeholders</vt:lpstr>
      <vt:lpstr>Stakeholsers – main players</vt:lpstr>
      <vt:lpstr>Identify stakeholders</vt:lpstr>
      <vt:lpstr>Stakeholder analysis</vt:lpstr>
      <vt:lpstr>Stakeholder analysis - Example</vt:lpstr>
      <vt:lpstr>Steering Commitee</vt:lpstr>
      <vt:lpstr>Stakeholders – Bóly FTTH &amp; 3Play services</vt:lpstr>
      <vt:lpstr>Project team - Bóly FTTH &amp; 3Play services</vt:lpstr>
      <vt:lpstr>QUESTIONS?</vt:lpstr>
    </vt:vector>
  </TitlesOfParts>
  <Company>IT Services Hungar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Master Format 4:3</dc:title>
  <dc:creator>Ronay, Alexandra</dc:creator>
  <cp:lastModifiedBy>Tibor Varga</cp:lastModifiedBy>
  <cp:revision>231</cp:revision>
  <dcterms:created xsi:type="dcterms:W3CDTF">2015-10-15T13:17:13Z</dcterms:created>
  <dcterms:modified xsi:type="dcterms:W3CDTF">2018-10-04T07:15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ECBDF25A07374AAA08F73D3C96845A</vt:lpwstr>
  </property>
</Properties>
</file>